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4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5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88" r:id="rId1"/>
    <p:sldMasterId id="2147483689" r:id="rId2"/>
    <p:sldMasterId id="2147483699" r:id="rId3"/>
    <p:sldMasterId id="2147483708" r:id="rId4"/>
    <p:sldMasterId id="2147483711" r:id="rId5"/>
    <p:sldMasterId id="2147483729" r:id="rId6"/>
  </p:sldMasterIdLst>
  <p:notesMasterIdLst>
    <p:notesMasterId r:id="rId25"/>
  </p:notesMasterIdLst>
  <p:sldIdLst>
    <p:sldId id="257" r:id="rId7"/>
    <p:sldId id="574" r:id="rId8"/>
    <p:sldId id="294" r:id="rId9"/>
    <p:sldId id="265" r:id="rId10"/>
    <p:sldId id="295" r:id="rId11"/>
    <p:sldId id="263" r:id="rId12"/>
    <p:sldId id="568" r:id="rId13"/>
    <p:sldId id="297" r:id="rId14"/>
    <p:sldId id="567" r:id="rId15"/>
    <p:sldId id="569" r:id="rId16"/>
    <p:sldId id="571" r:id="rId17"/>
    <p:sldId id="572" r:id="rId18"/>
    <p:sldId id="296" r:id="rId19"/>
    <p:sldId id="266" r:id="rId20"/>
    <p:sldId id="575" r:id="rId21"/>
    <p:sldId id="570" r:id="rId22"/>
    <p:sldId id="260" r:id="rId23"/>
    <p:sldId id="565" r:id="rId24"/>
  </p:sldIdLst>
  <p:sldSz cx="12192000" cy="6858000"/>
  <p:notesSz cx="6858000" cy="9144000"/>
  <p:embeddedFontLst>
    <p:embeddedFont>
      <p:font typeface="Calibri" panose="020F0502020204030204" pitchFamily="34" charset="0"/>
      <p:regular r:id="rId26"/>
      <p:bold r:id="rId27"/>
      <p:italic r:id="rId28"/>
      <p:boldItalic r:id="rId29"/>
    </p:embeddedFont>
    <p:embeddedFont>
      <p:font typeface="Georgia" panose="02040502050405020303" pitchFamily="18" charset="0"/>
      <p:regular r:id="rId30"/>
      <p:bold r:id="rId31"/>
      <p:italic r:id="rId32"/>
      <p:boldItalic r:id="rId33"/>
    </p:embeddedFont>
    <p:embeddedFont>
      <p:font typeface="Open Sans" panose="020B0604020202020204" charset="0"/>
      <p:regular r:id="rId34"/>
      <p:bold r:id="rId35"/>
      <p:italic r:id="rId36"/>
      <p:boldItalic r:id="rId37"/>
    </p:embeddedFont>
    <p:embeddedFont>
      <p:font typeface="Open Sans SemiBold" panose="020B0604020202020204" charset="0"/>
      <p:regular r:id="rId38"/>
      <p:bold r:id="rId39"/>
      <p:italic r:id="rId40"/>
      <p:boldItalic r:id="rId41"/>
    </p:embeddedFont>
    <p:embeddedFont>
      <p:font typeface="Segoe UI" panose="020B0502040204020203" pitchFamily="34" charset="0"/>
      <p:regular r:id="rId42"/>
      <p:bold r:id="rId43"/>
      <p:italic r:id="rId44"/>
      <p:boldItalic r:id="rId45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Default Section" id="{73F286FF-1FA9-4B05-AB65-EB8C50D49332}">
          <p14:sldIdLst>
            <p14:sldId id="257"/>
            <p14:sldId id="574"/>
            <p14:sldId id="294"/>
            <p14:sldId id="265"/>
            <p14:sldId id="295"/>
            <p14:sldId id="263"/>
            <p14:sldId id="568"/>
            <p14:sldId id="297"/>
            <p14:sldId id="567"/>
            <p14:sldId id="569"/>
            <p14:sldId id="571"/>
            <p14:sldId id="572"/>
            <p14:sldId id="296"/>
            <p14:sldId id="266"/>
            <p14:sldId id="575"/>
            <p14:sldId id="570"/>
            <p14:sldId id="260"/>
            <p14:sldId id="56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3673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54" d="100"/>
          <a:sy n="154" d="100"/>
        </p:scale>
        <p:origin x="2766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font" Target="fonts/font1.fntdata"/><Relationship Id="rId39" Type="http://schemas.openxmlformats.org/officeDocument/2006/relationships/font" Target="fonts/font14.fntdata"/><Relationship Id="rId21" Type="http://schemas.openxmlformats.org/officeDocument/2006/relationships/slide" Target="slides/slide15.xml"/><Relationship Id="rId34" Type="http://schemas.openxmlformats.org/officeDocument/2006/relationships/font" Target="fonts/font9.fntdata"/><Relationship Id="rId42" Type="http://schemas.openxmlformats.org/officeDocument/2006/relationships/font" Target="fonts/font17.fntdata"/><Relationship Id="rId47" Type="http://schemas.openxmlformats.org/officeDocument/2006/relationships/viewProps" Target="viewProps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font" Target="fonts/font4.fntdata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font" Target="fonts/font7.fntdata"/><Relationship Id="rId37" Type="http://schemas.openxmlformats.org/officeDocument/2006/relationships/font" Target="fonts/font12.fntdata"/><Relationship Id="rId40" Type="http://schemas.openxmlformats.org/officeDocument/2006/relationships/font" Target="fonts/font15.fntdata"/><Relationship Id="rId45" Type="http://schemas.openxmlformats.org/officeDocument/2006/relationships/font" Target="fonts/font20.fntdata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font" Target="fonts/font3.fntdata"/><Relationship Id="rId36" Type="http://schemas.openxmlformats.org/officeDocument/2006/relationships/font" Target="fonts/font11.fntdata"/><Relationship Id="rId49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font" Target="fonts/font6.fntdata"/><Relationship Id="rId44" Type="http://schemas.openxmlformats.org/officeDocument/2006/relationships/font" Target="fonts/font19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font" Target="fonts/font2.fntdata"/><Relationship Id="rId30" Type="http://schemas.openxmlformats.org/officeDocument/2006/relationships/font" Target="fonts/font5.fntdata"/><Relationship Id="rId35" Type="http://schemas.openxmlformats.org/officeDocument/2006/relationships/font" Target="fonts/font10.fntdata"/><Relationship Id="rId43" Type="http://schemas.openxmlformats.org/officeDocument/2006/relationships/font" Target="fonts/font18.fntdata"/><Relationship Id="rId48" Type="http://schemas.openxmlformats.org/officeDocument/2006/relationships/theme" Target="theme/theme1.xml"/><Relationship Id="rId8" Type="http://schemas.openxmlformats.org/officeDocument/2006/relationships/slide" Target="slides/slide2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8.fntdata"/><Relationship Id="rId38" Type="http://schemas.openxmlformats.org/officeDocument/2006/relationships/font" Target="fonts/font13.fntdata"/><Relationship Id="rId46" Type="http://schemas.openxmlformats.org/officeDocument/2006/relationships/presProps" Target="presProps.xml"/><Relationship Id="rId20" Type="http://schemas.openxmlformats.org/officeDocument/2006/relationships/slide" Target="slides/slide14.xml"/><Relationship Id="rId41" Type="http://schemas.openxmlformats.org/officeDocument/2006/relationships/font" Target="fonts/font16.fntdata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(White)">
  <p:cSld name="Title Slide (White)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3"/>
          <p:cNvSpPr txBox="1">
            <a:spLocks noGrp="1"/>
          </p:cNvSpPr>
          <p:nvPr>
            <p:ph type="title"/>
          </p:nvPr>
        </p:nvSpPr>
        <p:spPr>
          <a:xfrm>
            <a:off x="831850" y="562073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6000"/>
              <a:buFont typeface="Open Sans SemiBold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" name="Google Shape;11;p3"/>
          <p:cNvSpPr txBox="1">
            <a:spLocks noGrp="1"/>
          </p:cNvSpPr>
          <p:nvPr>
            <p:ph type="body" idx="1"/>
          </p:nvPr>
        </p:nvSpPr>
        <p:spPr>
          <a:xfrm>
            <a:off x="831850" y="3414810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595C"/>
              </a:buClr>
              <a:buSzPts val="2400"/>
              <a:buNone/>
              <a:defRPr sz="2400">
                <a:solidFill>
                  <a:srgbClr val="57595C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2000"/>
              <a:buNone/>
              <a:defRPr sz="2000">
                <a:solidFill>
                  <a:srgbClr val="8C8C8C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800"/>
              <a:buNone/>
              <a:defRPr sz="1800">
                <a:solidFill>
                  <a:srgbClr val="8C8C8C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(Tagline)">
  <p:cSld name="Two Content (Tagline)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15"/>
          <p:cNvSpPr txBox="1">
            <a:spLocks noGrp="1"/>
          </p:cNvSpPr>
          <p:nvPr>
            <p:ph type="title"/>
          </p:nvPr>
        </p:nvSpPr>
        <p:spPr>
          <a:xfrm>
            <a:off x="838200" y="635713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15"/>
          <p:cNvSpPr txBox="1">
            <a:spLocks noGrp="1"/>
          </p:cNvSpPr>
          <p:nvPr>
            <p:ph type="body" idx="1"/>
          </p:nvPr>
        </p:nvSpPr>
        <p:spPr>
          <a:xfrm>
            <a:off x="838200" y="2058891"/>
            <a:ext cx="51816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15"/>
          <p:cNvSpPr txBox="1">
            <a:spLocks noGrp="1"/>
          </p:cNvSpPr>
          <p:nvPr>
            <p:ph type="body" idx="2"/>
          </p:nvPr>
        </p:nvSpPr>
        <p:spPr>
          <a:xfrm>
            <a:off x="6172200" y="2058891"/>
            <a:ext cx="51816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(Logo and Tagline)">
  <p:cSld name="Two Content (Logo and Tagline)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6"/>
          <p:cNvSpPr txBox="1">
            <a:spLocks noGrp="1"/>
          </p:cNvSpPr>
          <p:nvPr>
            <p:ph type="title"/>
          </p:nvPr>
        </p:nvSpPr>
        <p:spPr>
          <a:xfrm>
            <a:off x="838200" y="635713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" name="Google Shape;55;p16"/>
          <p:cNvSpPr txBox="1">
            <a:spLocks noGrp="1"/>
          </p:cNvSpPr>
          <p:nvPr>
            <p:ph type="body" idx="1"/>
          </p:nvPr>
        </p:nvSpPr>
        <p:spPr>
          <a:xfrm>
            <a:off x="838200" y="2058891"/>
            <a:ext cx="51816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16"/>
          <p:cNvSpPr txBox="1">
            <a:spLocks noGrp="1"/>
          </p:cNvSpPr>
          <p:nvPr>
            <p:ph type="body" idx="2"/>
          </p:nvPr>
        </p:nvSpPr>
        <p:spPr>
          <a:xfrm>
            <a:off x="6172200" y="2058891"/>
            <a:ext cx="51816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(Tagline) Video">
  <p:cSld name="Two Content (Tagline) Video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7"/>
          <p:cNvSpPr txBox="1">
            <a:spLocks noGrp="1"/>
          </p:cNvSpPr>
          <p:nvPr>
            <p:ph type="body" idx="1"/>
          </p:nvPr>
        </p:nvSpPr>
        <p:spPr>
          <a:xfrm>
            <a:off x="838200" y="2380735"/>
            <a:ext cx="5181600" cy="3792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" name="Google Shape;59;p17"/>
          <p:cNvSpPr txBox="1">
            <a:spLocks noGrp="1"/>
          </p:cNvSpPr>
          <p:nvPr>
            <p:ph type="body" idx="2"/>
          </p:nvPr>
        </p:nvSpPr>
        <p:spPr>
          <a:xfrm>
            <a:off x="6172200" y="2380735"/>
            <a:ext cx="5181600" cy="3792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17"/>
          <p:cNvSpPr/>
          <p:nvPr/>
        </p:nvSpPr>
        <p:spPr>
          <a:xfrm>
            <a:off x="8444174" y="635714"/>
            <a:ext cx="2909626" cy="166264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1" name="Google Shape;61;p17"/>
          <p:cNvSpPr txBox="1">
            <a:spLocks noGrp="1"/>
          </p:cNvSpPr>
          <p:nvPr>
            <p:ph type="title"/>
          </p:nvPr>
        </p:nvSpPr>
        <p:spPr>
          <a:xfrm>
            <a:off x="838199" y="804254"/>
            <a:ext cx="749808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4000"/>
              <a:buFont typeface="Open Sans SemiBold"/>
              <a:buNone/>
              <a:defRPr sz="4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 (Logo)">
  <p:cSld name="Comparison (Logo)"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18"/>
          <p:cNvSpPr txBox="1">
            <a:spLocks noGrp="1"/>
          </p:cNvSpPr>
          <p:nvPr>
            <p:ph type="body" idx="1"/>
          </p:nvPr>
        </p:nvSpPr>
        <p:spPr>
          <a:xfrm>
            <a:off x="839788" y="1961275"/>
            <a:ext cx="5157787" cy="6699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4" name="Google Shape;64;p18"/>
          <p:cNvSpPr txBox="1">
            <a:spLocks noGrp="1"/>
          </p:cNvSpPr>
          <p:nvPr>
            <p:ph type="body" idx="2"/>
          </p:nvPr>
        </p:nvSpPr>
        <p:spPr>
          <a:xfrm>
            <a:off x="839788" y="2631233"/>
            <a:ext cx="5157787" cy="3713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18"/>
          <p:cNvSpPr txBox="1">
            <a:spLocks noGrp="1"/>
          </p:cNvSpPr>
          <p:nvPr>
            <p:ph type="body" idx="3"/>
          </p:nvPr>
        </p:nvSpPr>
        <p:spPr>
          <a:xfrm>
            <a:off x="6172200" y="1961275"/>
            <a:ext cx="5183188" cy="6699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6" name="Google Shape;66;p18"/>
          <p:cNvSpPr txBox="1">
            <a:spLocks noGrp="1"/>
          </p:cNvSpPr>
          <p:nvPr>
            <p:ph type="body" idx="4"/>
          </p:nvPr>
        </p:nvSpPr>
        <p:spPr>
          <a:xfrm>
            <a:off x="6172200" y="2631233"/>
            <a:ext cx="5183188" cy="3713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" name="Google Shape;67;p18"/>
          <p:cNvSpPr txBox="1">
            <a:spLocks noGrp="1"/>
          </p:cNvSpPr>
          <p:nvPr>
            <p:ph type="title"/>
          </p:nvPr>
        </p:nvSpPr>
        <p:spPr>
          <a:xfrm>
            <a:off x="838200" y="635713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 (Tagline)">
  <p:cSld name="Comparison (Tagline)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19"/>
          <p:cNvSpPr txBox="1">
            <a:spLocks noGrp="1"/>
          </p:cNvSpPr>
          <p:nvPr>
            <p:ph type="body" idx="1"/>
          </p:nvPr>
        </p:nvSpPr>
        <p:spPr>
          <a:xfrm>
            <a:off x="839788" y="1961275"/>
            <a:ext cx="5157787" cy="6699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0" name="Google Shape;70;p19"/>
          <p:cNvSpPr txBox="1">
            <a:spLocks noGrp="1"/>
          </p:cNvSpPr>
          <p:nvPr>
            <p:ph type="body" idx="2"/>
          </p:nvPr>
        </p:nvSpPr>
        <p:spPr>
          <a:xfrm>
            <a:off x="839788" y="2631233"/>
            <a:ext cx="5157787" cy="3713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" name="Google Shape;71;p19"/>
          <p:cNvSpPr txBox="1">
            <a:spLocks noGrp="1"/>
          </p:cNvSpPr>
          <p:nvPr>
            <p:ph type="body" idx="3"/>
          </p:nvPr>
        </p:nvSpPr>
        <p:spPr>
          <a:xfrm>
            <a:off x="6172200" y="1961275"/>
            <a:ext cx="5183188" cy="6699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2" name="Google Shape;72;p19"/>
          <p:cNvSpPr txBox="1">
            <a:spLocks noGrp="1"/>
          </p:cNvSpPr>
          <p:nvPr>
            <p:ph type="body" idx="4"/>
          </p:nvPr>
        </p:nvSpPr>
        <p:spPr>
          <a:xfrm>
            <a:off x="6172200" y="2631233"/>
            <a:ext cx="5183188" cy="3713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" name="Google Shape;73;p19"/>
          <p:cNvSpPr txBox="1">
            <a:spLocks noGrp="1"/>
          </p:cNvSpPr>
          <p:nvPr>
            <p:ph type="title"/>
          </p:nvPr>
        </p:nvSpPr>
        <p:spPr>
          <a:xfrm>
            <a:off x="838200" y="635713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 (Logo and Tagline)">
  <p:cSld name="Comparison (Logo and Tagline)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20"/>
          <p:cNvSpPr txBox="1">
            <a:spLocks noGrp="1"/>
          </p:cNvSpPr>
          <p:nvPr>
            <p:ph type="body" idx="1"/>
          </p:nvPr>
        </p:nvSpPr>
        <p:spPr>
          <a:xfrm>
            <a:off x="839788" y="1961275"/>
            <a:ext cx="5157787" cy="6699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6" name="Google Shape;76;p20"/>
          <p:cNvSpPr txBox="1">
            <a:spLocks noGrp="1"/>
          </p:cNvSpPr>
          <p:nvPr>
            <p:ph type="body" idx="2"/>
          </p:nvPr>
        </p:nvSpPr>
        <p:spPr>
          <a:xfrm>
            <a:off x="839788" y="2631233"/>
            <a:ext cx="5157787" cy="3713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20"/>
          <p:cNvSpPr txBox="1">
            <a:spLocks noGrp="1"/>
          </p:cNvSpPr>
          <p:nvPr>
            <p:ph type="body" idx="3"/>
          </p:nvPr>
        </p:nvSpPr>
        <p:spPr>
          <a:xfrm>
            <a:off x="6172200" y="1961275"/>
            <a:ext cx="5183188" cy="6699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8" name="Google Shape;78;p20"/>
          <p:cNvSpPr txBox="1">
            <a:spLocks noGrp="1"/>
          </p:cNvSpPr>
          <p:nvPr>
            <p:ph type="body" idx="4"/>
          </p:nvPr>
        </p:nvSpPr>
        <p:spPr>
          <a:xfrm>
            <a:off x="6172200" y="2631233"/>
            <a:ext cx="5183188" cy="3713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" name="Google Shape;79;p20"/>
          <p:cNvSpPr txBox="1">
            <a:spLocks noGrp="1"/>
          </p:cNvSpPr>
          <p:nvPr>
            <p:ph type="title"/>
          </p:nvPr>
        </p:nvSpPr>
        <p:spPr>
          <a:xfrm>
            <a:off x="838200" y="635713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 (Tagline) Video">
  <p:cSld name="Comparison (Tagline) Video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21"/>
          <p:cNvSpPr txBox="1">
            <a:spLocks noGrp="1"/>
          </p:cNvSpPr>
          <p:nvPr>
            <p:ph type="body" idx="1"/>
          </p:nvPr>
        </p:nvSpPr>
        <p:spPr>
          <a:xfrm>
            <a:off x="839788" y="2356691"/>
            <a:ext cx="5157787" cy="6699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2" name="Google Shape;82;p21"/>
          <p:cNvSpPr txBox="1">
            <a:spLocks noGrp="1"/>
          </p:cNvSpPr>
          <p:nvPr>
            <p:ph type="body" idx="2"/>
          </p:nvPr>
        </p:nvSpPr>
        <p:spPr>
          <a:xfrm>
            <a:off x="839788" y="3026649"/>
            <a:ext cx="5157787" cy="33181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21"/>
          <p:cNvSpPr txBox="1">
            <a:spLocks noGrp="1"/>
          </p:cNvSpPr>
          <p:nvPr>
            <p:ph type="body" idx="3"/>
          </p:nvPr>
        </p:nvSpPr>
        <p:spPr>
          <a:xfrm>
            <a:off x="6172200" y="2356691"/>
            <a:ext cx="5183188" cy="6699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4" name="Google Shape;84;p21"/>
          <p:cNvSpPr txBox="1">
            <a:spLocks noGrp="1"/>
          </p:cNvSpPr>
          <p:nvPr>
            <p:ph type="body" idx="4"/>
          </p:nvPr>
        </p:nvSpPr>
        <p:spPr>
          <a:xfrm>
            <a:off x="6172200" y="3026649"/>
            <a:ext cx="5183188" cy="33181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" name="Google Shape;85;p21"/>
          <p:cNvSpPr txBox="1">
            <a:spLocks noGrp="1"/>
          </p:cNvSpPr>
          <p:nvPr>
            <p:ph type="title"/>
          </p:nvPr>
        </p:nvSpPr>
        <p:spPr>
          <a:xfrm>
            <a:off x="839788" y="804254"/>
            <a:ext cx="749808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4000"/>
              <a:buFont typeface="Open Sans SemiBold"/>
              <a:buNone/>
              <a:defRPr sz="4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" name="Google Shape;86;p21"/>
          <p:cNvSpPr/>
          <p:nvPr/>
        </p:nvSpPr>
        <p:spPr>
          <a:xfrm>
            <a:off x="8444174" y="635714"/>
            <a:ext cx="2909626" cy="166264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(Logo)">
  <p:cSld name="Title Only (Logo)"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22"/>
          <p:cNvSpPr txBox="1">
            <a:spLocks noGrp="1"/>
          </p:cNvSpPr>
          <p:nvPr>
            <p:ph type="title"/>
          </p:nvPr>
        </p:nvSpPr>
        <p:spPr>
          <a:xfrm>
            <a:off x="838200" y="635713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(Tagline)">
  <p:cSld name="Title Only (Tagline)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3"/>
          <p:cNvSpPr txBox="1">
            <a:spLocks noGrp="1"/>
          </p:cNvSpPr>
          <p:nvPr>
            <p:ph type="title"/>
          </p:nvPr>
        </p:nvSpPr>
        <p:spPr>
          <a:xfrm>
            <a:off x="838200" y="635713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(Logo and Tagline)" type="titleOnly">
  <p:cSld name="TITLE_ONLY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24"/>
          <p:cNvSpPr txBox="1">
            <a:spLocks noGrp="1"/>
          </p:cNvSpPr>
          <p:nvPr>
            <p:ph type="title"/>
          </p:nvPr>
        </p:nvSpPr>
        <p:spPr>
          <a:xfrm>
            <a:off x="838200" y="635713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(White) Video">
  <p:cSld name="Title Slide (White) Video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5"/>
          <p:cNvSpPr txBox="1">
            <a:spLocks noGrp="1"/>
          </p:cNvSpPr>
          <p:nvPr>
            <p:ph type="title"/>
          </p:nvPr>
        </p:nvSpPr>
        <p:spPr>
          <a:xfrm>
            <a:off x="831850" y="562073"/>
            <a:ext cx="749808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6000"/>
              <a:buFont typeface="Open Sans SemiBold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5"/>
          <p:cNvSpPr txBox="1">
            <a:spLocks noGrp="1"/>
          </p:cNvSpPr>
          <p:nvPr>
            <p:ph type="body" idx="1"/>
          </p:nvPr>
        </p:nvSpPr>
        <p:spPr>
          <a:xfrm>
            <a:off x="831850" y="3414810"/>
            <a:ext cx="749808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595C"/>
              </a:buClr>
              <a:buSzPts val="2400"/>
              <a:buNone/>
              <a:defRPr sz="2400">
                <a:solidFill>
                  <a:srgbClr val="57595C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2000"/>
              <a:buNone/>
              <a:defRPr sz="2000">
                <a:solidFill>
                  <a:srgbClr val="8C8C8C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800"/>
              <a:buNone/>
              <a:defRPr sz="1800">
                <a:solidFill>
                  <a:srgbClr val="8C8C8C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9pPr>
          </a:lstStyle>
          <a:p>
            <a:endParaRPr/>
          </a:p>
        </p:txBody>
      </p:sp>
      <p:sp>
        <p:nvSpPr>
          <p:cNvPr id="18" name="Google Shape;18;p5"/>
          <p:cNvSpPr/>
          <p:nvPr/>
        </p:nvSpPr>
        <p:spPr>
          <a:xfrm>
            <a:off x="8444174" y="635714"/>
            <a:ext cx="2909626" cy="166264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(Tagline) Video">
  <p:cSld name="Title Only (Tagline) Video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25"/>
          <p:cNvSpPr txBox="1">
            <a:spLocks noGrp="1"/>
          </p:cNvSpPr>
          <p:nvPr>
            <p:ph type="title"/>
          </p:nvPr>
        </p:nvSpPr>
        <p:spPr>
          <a:xfrm>
            <a:off x="838200" y="804254"/>
            <a:ext cx="749808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4000"/>
              <a:buFont typeface="Open Sans SemiBold"/>
              <a:buNone/>
              <a:defRPr sz="4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25"/>
          <p:cNvSpPr/>
          <p:nvPr/>
        </p:nvSpPr>
        <p:spPr>
          <a:xfrm>
            <a:off x="8444174" y="635714"/>
            <a:ext cx="2909626" cy="166264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(Logo)" type="blank">
  <p:cSld name="BLANK"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(Tagline)">
  <p:cSld name="Blank (Tagline)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(Logo and Tagline)">
  <p:cSld name="Blank (Logo and Tagline)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(Tagline) Video">
  <p:cSld name="Blank (Tagline) Video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29"/>
          <p:cNvSpPr/>
          <p:nvPr/>
        </p:nvSpPr>
        <p:spPr>
          <a:xfrm>
            <a:off x="8444174" y="635714"/>
            <a:ext cx="2909626" cy="166264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 (Logo)" type="objTx">
  <p:cSld name="OBJECT_WITH_CAPTION_TEXT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30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3200"/>
              <a:buFont typeface="Open Sans SemiBold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" name="Google Shape;103;p30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52762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04" name="Google Shape;104;p30"/>
          <p:cNvSpPr txBox="1">
            <a:spLocks noGrp="1"/>
          </p:cNvSpPr>
          <p:nvPr>
            <p:ph type="body" idx="2"/>
          </p:nvPr>
        </p:nvSpPr>
        <p:spPr>
          <a:xfrm>
            <a:off x="839788" y="2057399"/>
            <a:ext cx="3932237" cy="42062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 (Tagline)">
  <p:cSld name="Content with Caption (Tagline)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Google Shape;106;p31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3200"/>
              <a:buFont typeface="Open Sans SemiBold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31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52762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08" name="Google Shape;108;p31"/>
          <p:cNvSpPr txBox="1">
            <a:spLocks noGrp="1"/>
          </p:cNvSpPr>
          <p:nvPr>
            <p:ph type="body" idx="2"/>
          </p:nvPr>
        </p:nvSpPr>
        <p:spPr>
          <a:xfrm>
            <a:off x="839788" y="2057399"/>
            <a:ext cx="3932237" cy="42062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 (Logo and Tagline)">
  <p:cSld name="Content with Caption (Logo and Tagline)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Google Shape;110;p32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3200"/>
              <a:buFont typeface="Open Sans SemiBold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" name="Google Shape;111;p32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52762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12" name="Google Shape;112;p32"/>
          <p:cNvSpPr txBox="1">
            <a:spLocks noGrp="1"/>
          </p:cNvSpPr>
          <p:nvPr>
            <p:ph type="body" idx="2"/>
          </p:nvPr>
        </p:nvSpPr>
        <p:spPr>
          <a:xfrm>
            <a:off x="839788" y="2057399"/>
            <a:ext cx="3932237" cy="42062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 (Tagline) Video">
  <p:cSld name="Content with Caption (Tagline) Video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33"/>
          <p:cNvSpPr txBox="1">
            <a:spLocks noGrp="1"/>
          </p:cNvSpPr>
          <p:nvPr>
            <p:ph type="title"/>
          </p:nvPr>
        </p:nvSpPr>
        <p:spPr>
          <a:xfrm>
            <a:off x="839788" y="886408"/>
            <a:ext cx="7436465" cy="11709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3200"/>
              <a:buFont typeface="Open Sans SemiBold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" name="Google Shape;115;p33"/>
          <p:cNvSpPr txBox="1">
            <a:spLocks noGrp="1"/>
          </p:cNvSpPr>
          <p:nvPr>
            <p:ph type="body" idx="1"/>
          </p:nvPr>
        </p:nvSpPr>
        <p:spPr>
          <a:xfrm>
            <a:off x="5183188" y="2425959"/>
            <a:ext cx="6172200" cy="38376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16" name="Google Shape;116;p33"/>
          <p:cNvSpPr txBox="1">
            <a:spLocks noGrp="1"/>
          </p:cNvSpPr>
          <p:nvPr>
            <p:ph type="body" idx="2"/>
          </p:nvPr>
        </p:nvSpPr>
        <p:spPr>
          <a:xfrm>
            <a:off x="839788" y="2425959"/>
            <a:ext cx="3932237" cy="38376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117" name="Google Shape;117;p33"/>
          <p:cNvSpPr/>
          <p:nvPr/>
        </p:nvSpPr>
        <p:spPr>
          <a:xfrm>
            <a:off x="8444174" y="635714"/>
            <a:ext cx="2909626" cy="166264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 (Logo)" type="picTx">
  <p:cSld name="PICTURE_WITH_CAPTION_TEXT"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p34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3200"/>
              <a:buFont typeface="Open Sans SemiBold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" name="Google Shape;120;p34"/>
          <p:cNvSpPr>
            <a:spLocks noGrp="1"/>
          </p:cNvSpPr>
          <p:nvPr>
            <p:ph type="pic" idx="2"/>
          </p:nvPr>
        </p:nvSpPr>
        <p:spPr>
          <a:xfrm>
            <a:off x="5183188" y="987424"/>
            <a:ext cx="6172200" cy="52762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3200"/>
              <a:buFont typeface="Arial"/>
              <a:buNone/>
              <a:defRPr sz="3200" b="0" i="0" u="none" strike="noStrike" cap="none">
                <a:solidFill>
                  <a:srgbClr val="043673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800"/>
              <a:buFont typeface="Arial"/>
              <a:buNone/>
              <a:defRPr sz="2800" b="0" i="0" u="none" strike="noStrike" cap="none">
                <a:solidFill>
                  <a:srgbClr val="043673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43673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043673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043673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121" name="Google Shape;121;p34"/>
          <p:cNvSpPr txBox="1">
            <a:spLocks noGrp="1"/>
          </p:cNvSpPr>
          <p:nvPr>
            <p:ph type="body" idx="1"/>
          </p:nvPr>
        </p:nvSpPr>
        <p:spPr>
          <a:xfrm>
            <a:off x="839788" y="2057398"/>
            <a:ext cx="3932237" cy="42062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 (Tagline)">
  <p:cSld name="Title and Content (Tagline)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7"/>
          <p:cNvSpPr txBox="1">
            <a:spLocks noGrp="1"/>
          </p:cNvSpPr>
          <p:nvPr>
            <p:ph type="title"/>
          </p:nvPr>
        </p:nvSpPr>
        <p:spPr>
          <a:xfrm>
            <a:off x="838200" y="635713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7"/>
          <p:cNvSpPr txBox="1">
            <a:spLocks noGrp="1"/>
          </p:cNvSpPr>
          <p:nvPr>
            <p:ph type="body" idx="1"/>
          </p:nvPr>
        </p:nvSpPr>
        <p:spPr>
          <a:xfrm>
            <a:off x="838200" y="2096213"/>
            <a:ext cx="105156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 (Tagline)">
  <p:cSld name="Picture with Caption (Tagline)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35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3200"/>
              <a:buFont typeface="Open Sans SemiBold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" name="Google Shape;124;p35"/>
          <p:cNvSpPr>
            <a:spLocks noGrp="1"/>
          </p:cNvSpPr>
          <p:nvPr>
            <p:ph type="pic" idx="2"/>
          </p:nvPr>
        </p:nvSpPr>
        <p:spPr>
          <a:xfrm>
            <a:off x="5183188" y="987424"/>
            <a:ext cx="6172200" cy="52762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3200"/>
              <a:buFont typeface="Arial"/>
              <a:buNone/>
              <a:defRPr sz="3200" b="0" i="0" u="none" strike="noStrike" cap="none">
                <a:solidFill>
                  <a:srgbClr val="043673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800"/>
              <a:buFont typeface="Arial"/>
              <a:buNone/>
              <a:defRPr sz="2800" b="0" i="0" u="none" strike="noStrike" cap="none">
                <a:solidFill>
                  <a:srgbClr val="043673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43673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043673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043673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125" name="Google Shape;125;p35"/>
          <p:cNvSpPr txBox="1">
            <a:spLocks noGrp="1"/>
          </p:cNvSpPr>
          <p:nvPr>
            <p:ph type="body" idx="1"/>
          </p:nvPr>
        </p:nvSpPr>
        <p:spPr>
          <a:xfrm>
            <a:off x="839788" y="2057398"/>
            <a:ext cx="3932237" cy="42062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 (Logo and Tagline)">
  <p:cSld name="Picture with Caption (Logo and Tagline)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36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3200"/>
              <a:buFont typeface="Open Sans SemiBold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" name="Google Shape;128;p36"/>
          <p:cNvSpPr>
            <a:spLocks noGrp="1"/>
          </p:cNvSpPr>
          <p:nvPr>
            <p:ph type="pic" idx="2"/>
          </p:nvPr>
        </p:nvSpPr>
        <p:spPr>
          <a:xfrm>
            <a:off x="5183188" y="987424"/>
            <a:ext cx="6172200" cy="52762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3200"/>
              <a:buFont typeface="Arial"/>
              <a:buNone/>
              <a:defRPr sz="3200" b="0" i="0" u="none" strike="noStrike" cap="none">
                <a:solidFill>
                  <a:srgbClr val="043673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800"/>
              <a:buFont typeface="Arial"/>
              <a:buNone/>
              <a:defRPr sz="2800" b="0" i="0" u="none" strike="noStrike" cap="none">
                <a:solidFill>
                  <a:srgbClr val="043673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43673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043673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043673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129" name="Google Shape;129;p36"/>
          <p:cNvSpPr txBox="1">
            <a:spLocks noGrp="1"/>
          </p:cNvSpPr>
          <p:nvPr>
            <p:ph type="body" idx="1"/>
          </p:nvPr>
        </p:nvSpPr>
        <p:spPr>
          <a:xfrm>
            <a:off x="839788" y="2057398"/>
            <a:ext cx="3932237" cy="42062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 (Tagline) Video">
  <p:cSld name="Picture with Caption (Tagline) Video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Google Shape;131;p37"/>
          <p:cNvSpPr txBox="1">
            <a:spLocks noGrp="1"/>
          </p:cNvSpPr>
          <p:nvPr>
            <p:ph type="title"/>
          </p:nvPr>
        </p:nvSpPr>
        <p:spPr>
          <a:xfrm>
            <a:off x="839788" y="839552"/>
            <a:ext cx="7511110" cy="12549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3200"/>
              <a:buFont typeface="Open Sans SemiBold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" name="Google Shape;132;p37"/>
          <p:cNvSpPr>
            <a:spLocks noGrp="1"/>
          </p:cNvSpPr>
          <p:nvPr>
            <p:ph type="pic" idx="2"/>
          </p:nvPr>
        </p:nvSpPr>
        <p:spPr>
          <a:xfrm>
            <a:off x="5183188" y="2369976"/>
            <a:ext cx="6172200" cy="38936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3200"/>
              <a:buFont typeface="Arial"/>
              <a:buNone/>
              <a:defRPr sz="3200" b="0" i="0" u="none" strike="noStrike" cap="none">
                <a:solidFill>
                  <a:srgbClr val="043673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800"/>
              <a:buFont typeface="Arial"/>
              <a:buNone/>
              <a:defRPr sz="2800" b="0" i="0" u="none" strike="noStrike" cap="none">
                <a:solidFill>
                  <a:srgbClr val="043673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43673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043673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043673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133" name="Google Shape;133;p37"/>
          <p:cNvSpPr txBox="1">
            <a:spLocks noGrp="1"/>
          </p:cNvSpPr>
          <p:nvPr>
            <p:ph type="body" idx="1"/>
          </p:nvPr>
        </p:nvSpPr>
        <p:spPr>
          <a:xfrm>
            <a:off x="839788" y="2369976"/>
            <a:ext cx="3932237" cy="3893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134" name="Google Shape;134;p37"/>
          <p:cNvSpPr/>
          <p:nvPr/>
        </p:nvSpPr>
        <p:spPr>
          <a:xfrm>
            <a:off x="8444174" y="635714"/>
            <a:ext cx="2909626" cy="166264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 (Logo)" type="vertTx">
  <p:cSld name="VERTICAL_TEXT"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Google Shape;136;p38"/>
          <p:cNvSpPr txBox="1">
            <a:spLocks noGrp="1"/>
          </p:cNvSpPr>
          <p:nvPr>
            <p:ph type="title"/>
          </p:nvPr>
        </p:nvSpPr>
        <p:spPr>
          <a:xfrm>
            <a:off x="838200" y="635713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" name="Google Shape;137;p38"/>
          <p:cNvSpPr txBox="1">
            <a:spLocks noGrp="1"/>
          </p:cNvSpPr>
          <p:nvPr>
            <p:ph type="body" idx="1"/>
          </p:nvPr>
        </p:nvSpPr>
        <p:spPr>
          <a:xfrm rot="5400000">
            <a:off x="4038600" y="-1104187"/>
            <a:ext cx="4114800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 (Tagline)">
  <p:cSld name="Title and Vertical Text (Tagline)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Google Shape;139;p39"/>
          <p:cNvSpPr txBox="1">
            <a:spLocks noGrp="1"/>
          </p:cNvSpPr>
          <p:nvPr>
            <p:ph type="title"/>
          </p:nvPr>
        </p:nvSpPr>
        <p:spPr>
          <a:xfrm>
            <a:off x="838200" y="635713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" name="Google Shape;140;p39"/>
          <p:cNvSpPr txBox="1">
            <a:spLocks noGrp="1"/>
          </p:cNvSpPr>
          <p:nvPr>
            <p:ph type="body" idx="1"/>
          </p:nvPr>
        </p:nvSpPr>
        <p:spPr>
          <a:xfrm rot="5400000">
            <a:off x="4038600" y="-1104187"/>
            <a:ext cx="4114800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 (Logo and Tagline)">
  <p:cSld name="Title and Vertical Text (Logo and Tagline)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Google Shape;142;p40"/>
          <p:cNvSpPr txBox="1">
            <a:spLocks noGrp="1"/>
          </p:cNvSpPr>
          <p:nvPr>
            <p:ph type="title"/>
          </p:nvPr>
        </p:nvSpPr>
        <p:spPr>
          <a:xfrm>
            <a:off x="838200" y="635713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" name="Google Shape;143;p40"/>
          <p:cNvSpPr txBox="1">
            <a:spLocks noGrp="1"/>
          </p:cNvSpPr>
          <p:nvPr>
            <p:ph type="body" idx="1"/>
          </p:nvPr>
        </p:nvSpPr>
        <p:spPr>
          <a:xfrm rot="5400000">
            <a:off x="4038600" y="-1104187"/>
            <a:ext cx="4114800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 (Tagline)" type="vertTitleAndTx">
  <p:cSld name="VERTICAL_TITLE_AND_VERTICAL_TEXT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Google Shape;145;p41"/>
          <p:cNvSpPr txBox="1">
            <a:spLocks noGrp="1"/>
          </p:cNvSpPr>
          <p:nvPr>
            <p:ph type="title"/>
          </p:nvPr>
        </p:nvSpPr>
        <p:spPr>
          <a:xfrm rot="5400000">
            <a:off x="7158990" y="2164298"/>
            <a:ext cx="5760720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" name="Google Shape;146;p41"/>
          <p:cNvSpPr txBox="1">
            <a:spLocks noGrp="1"/>
          </p:cNvSpPr>
          <p:nvPr>
            <p:ph type="body" idx="1"/>
          </p:nvPr>
        </p:nvSpPr>
        <p:spPr>
          <a:xfrm rot="5400000">
            <a:off x="1824990" y="-388402"/>
            <a:ext cx="5760720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1A2F52-F6EF-4344-8240-682D91743A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433CC4-DC39-41F4-B965-80461319BB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19581B7-CE0B-4559-AEB4-4FEA32776B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/>
              <a:t>Avēsis</a:t>
            </a:r>
            <a:r>
              <a:rPr lang="en-US" dirty="0"/>
              <a:t> | SDLC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B0107DD-4DCC-4B8E-9556-0A69D9DDEA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CC161-539E-43A5-8E1F-879DEB8E4E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06076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1B7477-D75E-4D87-8C1F-9B49A2D88B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501E17-43CD-4122-8F9F-1A4C0DEAA0C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6320" y="1825625"/>
            <a:ext cx="5547316" cy="435173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EC933C-7431-4E3F-9020-7A1DB4AF3F6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8364" y="1825625"/>
            <a:ext cx="5547316" cy="435173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1DAB2B-1DC1-4234-BA37-CDAA295AC93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err="1"/>
              <a:t>Avēsis</a:t>
            </a:r>
            <a:r>
              <a:rPr lang="en-US" dirty="0"/>
              <a:t> | SDL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53F570-B37E-4E25-9C25-FB5ECF1E30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C3CC161-539E-43A5-8E1F-879DEB8E4EA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676613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tion_optio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1B7477-D75E-4D87-8C1F-9B49A2D88B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501E17-43CD-4122-8F9F-1A4C0DEAA0C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6320" y="1825625"/>
            <a:ext cx="6748044" cy="435173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1DAB2B-1DC1-4234-BA37-CDAA295AC93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err="1"/>
              <a:t>Avēsis</a:t>
            </a:r>
            <a:r>
              <a:rPr lang="en-US" dirty="0"/>
              <a:t> | SDL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53F570-B37E-4E25-9C25-FB5ECF1E30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C3CC161-539E-43A5-8E1F-879DEB8E4EA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Double Bracket 6">
            <a:extLst>
              <a:ext uri="{FF2B5EF4-FFF2-40B4-BE49-F238E27FC236}">
                <a16:creationId xmlns:a16="http://schemas.microsoft.com/office/drawing/2014/main" id="{DB840CD6-053B-4445-B6E0-0C98C2A11673}"/>
              </a:ext>
            </a:extLst>
          </p:cNvPr>
          <p:cNvSpPr/>
          <p:nvPr userDrawn="1"/>
        </p:nvSpPr>
        <p:spPr>
          <a:xfrm>
            <a:off x="7573818" y="2663324"/>
            <a:ext cx="3596684" cy="2719993"/>
          </a:xfrm>
          <a:prstGeom prst="bracketPair">
            <a:avLst/>
          </a:prstGeom>
          <a:ln w="762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AAEEF6E-A5C3-4EA8-84C3-B18D535F9E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573818" y="2641496"/>
            <a:ext cx="3596684" cy="2719993"/>
          </a:xfrm>
        </p:spPr>
        <p:txBody>
          <a:bodyPr anchor="ctr"/>
          <a:lstStyle>
            <a:lvl1pPr marL="0" indent="0" algn="ctr">
              <a:buNone/>
              <a:defRPr/>
            </a:lvl1pPr>
            <a:lvl2pPr marL="554172" indent="0">
              <a:buNone/>
              <a:defRPr/>
            </a:lvl2pPr>
            <a:lvl3pPr marL="1108344" indent="0">
              <a:buNone/>
              <a:defRPr/>
            </a:lvl3pPr>
            <a:lvl4pPr marL="1662516" indent="0">
              <a:buNone/>
              <a:defRPr/>
            </a:lvl4pPr>
            <a:lvl5pPr marL="2216688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41657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 (Logo and Tagline)">
  <p:cSld name="Title and Content (Logo and Tagline)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8"/>
          <p:cNvSpPr txBox="1">
            <a:spLocks noGrp="1"/>
          </p:cNvSpPr>
          <p:nvPr>
            <p:ph type="title"/>
          </p:nvPr>
        </p:nvSpPr>
        <p:spPr>
          <a:xfrm>
            <a:off x="838200" y="635713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8"/>
          <p:cNvSpPr txBox="1">
            <a:spLocks noGrp="1"/>
          </p:cNvSpPr>
          <p:nvPr>
            <p:ph type="body" idx="1"/>
          </p:nvPr>
        </p:nvSpPr>
        <p:spPr>
          <a:xfrm>
            <a:off x="838200" y="2096213"/>
            <a:ext cx="105156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ption_optio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peech Bubble: Oval 8">
            <a:extLst>
              <a:ext uri="{FF2B5EF4-FFF2-40B4-BE49-F238E27FC236}">
                <a16:creationId xmlns:a16="http://schemas.microsoft.com/office/drawing/2014/main" id="{235D4D0F-7EB1-4917-B546-7DEFFA439212}"/>
              </a:ext>
            </a:extLst>
          </p:cNvPr>
          <p:cNvSpPr/>
          <p:nvPr userDrawn="1"/>
        </p:nvSpPr>
        <p:spPr>
          <a:xfrm rot="1243991">
            <a:off x="7471288" y="-649707"/>
            <a:ext cx="5786735" cy="5621153"/>
          </a:xfrm>
          <a:prstGeom prst="wedgeEllipseCallout">
            <a:avLst>
              <a:gd name="adj1" fmla="val -33083"/>
              <a:gd name="adj2" fmla="val 62083"/>
            </a:avLst>
          </a:prstGeom>
          <a:solidFill>
            <a:srgbClr val="D7D8D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1B7477-D75E-4D87-8C1F-9B49A2D88B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6320" y="365125"/>
            <a:ext cx="6748044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501E17-43CD-4122-8F9F-1A4C0DEAA0C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6320" y="1825625"/>
            <a:ext cx="6748044" cy="435173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1DAB2B-1DC1-4234-BA37-CDAA295AC93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err="1"/>
              <a:t>Avēsis</a:t>
            </a:r>
            <a:r>
              <a:rPr lang="en-US" dirty="0"/>
              <a:t> | SDL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53F570-B37E-4E25-9C25-FB5ECF1E30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C3CC161-539E-43A5-8E1F-879DEB8E4EA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C1A8AD4-BCA1-4BD4-8514-CDFEAE7F52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943273" y="365126"/>
            <a:ext cx="4064000" cy="3921125"/>
          </a:xfrm>
        </p:spPr>
        <p:txBody>
          <a:bodyPr anchor="ctr"/>
          <a:lstStyle>
            <a:lvl1pPr marL="0" indent="0" algn="ctr">
              <a:buNone/>
              <a:defRPr/>
            </a:lvl1pPr>
            <a:lvl2pPr marL="554172" indent="0">
              <a:buNone/>
              <a:defRPr/>
            </a:lvl2pPr>
            <a:lvl3pPr marL="1108344" indent="0">
              <a:buNone/>
              <a:defRPr/>
            </a:lvl3pPr>
            <a:lvl4pPr marL="1662516" indent="0">
              <a:buNone/>
              <a:defRPr/>
            </a:lvl4pPr>
            <a:lvl5pPr marL="2216688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30666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6861F-C003-425C-8CAF-D280008AE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6320" y="365125"/>
            <a:ext cx="1127936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C3ECD7-75EC-40A1-8282-2AC222F97E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6320" y="1680766"/>
            <a:ext cx="5541544" cy="823515"/>
          </a:xfrm>
        </p:spPr>
        <p:txBody>
          <a:bodyPr anchor="b"/>
          <a:lstStyle>
            <a:lvl1pPr marL="0" indent="0">
              <a:buNone/>
              <a:defRPr sz="2909" b="1"/>
            </a:lvl1pPr>
            <a:lvl2pPr marL="554172" indent="0">
              <a:buNone/>
              <a:defRPr sz="2424" b="1"/>
            </a:lvl2pPr>
            <a:lvl3pPr marL="1108344" indent="0">
              <a:buNone/>
              <a:defRPr sz="2182" b="1"/>
            </a:lvl3pPr>
            <a:lvl4pPr marL="1662516" indent="0">
              <a:buNone/>
              <a:defRPr sz="1939" b="1"/>
            </a:lvl4pPr>
            <a:lvl5pPr marL="2216688" indent="0">
              <a:buNone/>
              <a:defRPr sz="1939" b="1"/>
            </a:lvl5pPr>
            <a:lvl6pPr marL="2770861" indent="0">
              <a:buNone/>
              <a:defRPr sz="1939" b="1"/>
            </a:lvl6pPr>
            <a:lvl7pPr marL="3325033" indent="0">
              <a:buNone/>
              <a:defRPr sz="1939" b="1"/>
            </a:lvl7pPr>
            <a:lvl8pPr marL="3879205" indent="0">
              <a:buNone/>
              <a:defRPr sz="1939" b="1"/>
            </a:lvl8pPr>
            <a:lvl9pPr marL="4433377" indent="0">
              <a:buNone/>
              <a:defRPr sz="1939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92F88C9-87E9-4E99-BE67-D1335180D0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6320" y="2504281"/>
            <a:ext cx="5541544" cy="368498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9F3DC3-FE20-42C9-B177-53549990F71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970" y="1680766"/>
            <a:ext cx="5562710" cy="823515"/>
          </a:xfrm>
        </p:spPr>
        <p:txBody>
          <a:bodyPr anchor="b"/>
          <a:lstStyle>
            <a:lvl1pPr marL="0" indent="0">
              <a:buNone/>
              <a:defRPr sz="2909" b="1"/>
            </a:lvl1pPr>
            <a:lvl2pPr marL="554172" indent="0">
              <a:buNone/>
              <a:defRPr sz="2424" b="1"/>
            </a:lvl2pPr>
            <a:lvl3pPr marL="1108344" indent="0">
              <a:buNone/>
              <a:defRPr sz="2182" b="1"/>
            </a:lvl3pPr>
            <a:lvl4pPr marL="1662516" indent="0">
              <a:buNone/>
              <a:defRPr sz="1939" b="1"/>
            </a:lvl4pPr>
            <a:lvl5pPr marL="2216688" indent="0">
              <a:buNone/>
              <a:defRPr sz="1939" b="1"/>
            </a:lvl5pPr>
            <a:lvl6pPr marL="2770861" indent="0">
              <a:buNone/>
              <a:defRPr sz="1939" b="1"/>
            </a:lvl6pPr>
            <a:lvl7pPr marL="3325033" indent="0">
              <a:buNone/>
              <a:defRPr sz="1939" b="1"/>
            </a:lvl7pPr>
            <a:lvl8pPr marL="3879205" indent="0">
              <a:buNone/>
              <a:defRPr sz="1939" b="1"/>
            </a:lvl8pPr>
            <a:lvl9pPr marL="4433377" indent="0">
              <a:buNone/>
              <a:defRPr sz="1939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DD30EC1-7078-40BC-AFCF-AF970BB233A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970" y="2504281"/>
            <a:ext cx="5562710" cy="368498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97D41F7-77E4-4090-8A55-0276A7DDF4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err="1"/>
              <a:t>Avēsis</a:t>
            </a:r>
            <a:r>
              <a:rPr lang="en-US" dirty="0"/>
              <a:t> | SDLC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9C84251-366D-45A7-B829-1592810BB50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C3CC161-539E-43A5-8E1F-879DEB8E4EA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85297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1B7477-D75E-4D87-8C1F-9B49A2D88B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501E17-43CD-4122-8F9F-1A4C0DEAA0C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6321" y="1805214"/>
            <a:ext cx="3582665" cy="435173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F44AE81-B267-476E-BA71-9A188F5A198C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304669" y="1805214"/>
            <a:ext cx="3582665" cy="435173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75D08DD-E265-4F44-85C4-7C37908CF6C8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8153015" y="1805214"/>
            <a:ext cx="3582665" cy="435173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754116A-39D3-4965-8491-471B35A4DE7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dirty="0" err="1"/>
              <a:t>Avēsis</a:t>
            </a:r>
            <a:r>
              <a:rPr lang="en-US" dirty="0"/>
              <a:t> | SDLC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C819D6-36CE-41AD-905D-8A9A9CA0B7E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C3CC161-539E-43A5-8E1F-879DEB8E4EA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95477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1B7477-D75E-4D87-8C1F-9B49A2D88B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501E17-43CD-4122-8F9F-1A4C0DEAA0C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6321" y="2504282"/>
            <a:ext cx="3582665" cy="365266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F44AE81-B267-476E-BA71-9A188F5A198C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304669" y="2504281"/>
            <a:ext cx="3582665" cy="365266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75D08DD-E265-4F44-85C4-7C37908CF6C8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8153015" y="2504279"/>
            <a:ext cx="3582665" cy="365266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49D291B-2D86-49D1-BFCD-FA86A3B9AA48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456321" y="1680766"/>
            <a:ext cx="3582665" cy="823515"/>
          </a:xfrm>
        </p:spPr>
        <p:txBody>
          <a:bodyPr anchor="b"/>
          <a:lstStyle>
            <a:lvl1pPr marL="0" indent="0">
              <a:buNone/>
              <a:defRPr sz="2909" b="1"/>
            </a:lvl1pPr>
            <a:lvl2pPr marL="554172" indent="0">
              <a:buNone/>
              <a:defRPr sz="2424" b="1"/>
            </a:lvl2pPr>
            <a:lvl3pPr marL="1108344" indent="0">
              <a:buNone/>
              <a:defRPr sz="2182" b="1"/>
            </a:lvl3pPr>
            <a:lvl4pPr marL="1662516" indent="0">
              <a:buNone/>
              <a:defRPr sz="1939" b="1"/>
            </a:lvl4pPr>
            <a:lvl5pPr marL="2216688" indent="0">
              <a:buNone/>
              <a:defRPr sz="1939" b="1"/>
            </a:lvl5pPr>
            <a:lvl6pPr marL="2770861" indent="0">
              <a:buNone/>
              <a:defRPr sz="1939" b="1"/>
            </a:lvl6pPr>
            <a:lvl7pPr marL="3325033" indent="0">
              <a:buNone/>
              <a:defRPr sz="1939" b="1"/>
            </a:lvl7pPr>
            <a:lvl8pPr marL="3879205" indent="0">
              <a:buNone/>
              <a:defRPr sz="1939" b="1"/>
            </a:lvl8pPr>
            <a:lvl9pPr marL="4433377" indent="0">
              <a:buNone/>
              <a:defRPr sz="1939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9175EFD-6EA1-4ADC-9341-55D6FDBC254A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4304669" y="1680766"/>
            <a:ext cx="3582665" cy="823515"/>
          </a:xfrm>
        </p:spPr>
        <p:txBody>
          <a:bodyPr anchor="b"/>
          <a:lstStyle>
            <a:lvl1pPr marL="0" indent="0">
              <a:buNone/>
              <a:defRPr sz="2909" b="1"/>
            </a:lvl1pPr>
            <a:lvl2pPr marL="554172" indent="0">
              <a:buNone/>
              <a:defRPr sz="2424" b="1"/>
            </a:lvl2pPr>
            <a:lvl3pPr marL="1108344" indent="0">
              <a:buNone/>
              <a:defRPr sz="2182" b="1"/>
            </a:lvl3pPr>
            <a:lvl4pPr marL="1662516" indent="0">
              <a:buNone/>
              <a:defRPr sz="1939" b="1"/>
            </a:lvl4pPr>
            <a:lvl5pPr marL="2216688" indent="0">
              <a:buNone/>
              <a:defRPr sz="1939" b="1"/>
            </a:lvl5pPr>
            <a:lvl6pPr marL="2770861" indent="0">
              <a:buNone/>
              <a:defRPr sz="1939" b="1"/>
            </a:lvl6pPr>
            <a:lvl7pPr marL="3325033" indent="0">
              <a:buNone/>
              <a:defRPr sz="1939" b="1"/>
            </a:lvl7pPr>
            <a:lvl8pPr marL="3879205" indent="0">
              <a:buNone/>
              <a:defRPr sz="1939" b="1"/>
            </a:lvl8pPr>
            <a:lvl9pPr marL="4433377" indent="0">
              <a:buNone/>
              <a:defRPr sz="1939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9D5760A-173D-40BE-BF7E-70691C104A2E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8153014" y="1680766"/>
            <a:ext cx="3582665" cy="823515"/>
          </a:xfrm>
        </p:spPr>
        <p:txBody>
          <a:bodyPr anchor="b"/>
          <a:lstStyle>
            <a:lvl1pPr marL="0" indent="0">
              <a:buNone/>
              <a:defRPr sz="2909" b="1"/>
            </a:lvl1pPr>
            <a:lvl2pPr marL="554172" indent="0">
              <a:buNone/>
              <a:defRPr sz="2424" b="1"/>
            </a:lvl2pPr>
            <a:lvl3pPr marL="1108344" indent="0">
              <a:buNone/>
              <a:defRPr sz="2182" b="1"/>
            </a:lvl3pPr>
            <a:lvl4pPr marL="1662516" indent="0">
              <a:buNone/>
              <a:defRPr sz="1939" b="1"/>
            </a:lvl4pPr>
            <a:lvl5pPr marL="2216688" indent="0">
              <a:buNone/>
              <a:defRPr sz="1939" b="1"/>
            </a:lvl5pPr>
            <a:lvl6pPr marL="2770861" indent="0">
              <a:buNone/>
              <a:defRPr sz="1939" b="1"/>
            </a:lvl6pPr>
            <a:lvl7pPr marL="3325033" indent="0">
              <a:buNone/>
              <a:defRPr sz="1939" b="1"/>
            </a:lvl7pPr>
            <a:lvl8pPr marL="3879205" indent="0">
              <a:buNone/>
              <a:defRPr sz="1939" b="1"/>
            </a:lvl8pPr>
            <a:lvl9pPr marL="4433377" indent="0">
              <a:buNone/>
              <a:defRPr sz="1939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7F9074-AF3B-460B-94E0-6266AAD895D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dirty="0" err="1"/>
              <a:t>Avēsis</a:t>
            </a:r>
            <a:r>
              <a:rPr lang="en-US" dirty="0"/>
              <a:t> | SDLC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19C8C1-0D5F-4F7B-8748-6DC26883DD4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FC3CC161-539E-43A5-8E1F-879DEB8E4EA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250878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B7ADE4-38D4-4C1F-A00C-435B6900F9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762767-055B-490F-BA4D-9CE65F09908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err="1"/>
              <a:t>Avēsis</a:t>
            </a:r>
            <a:r>
              <a:rPr lang="en-US" dirty="0"/>
              <a:t> | SDL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7CC839-20E8-4D69-A277-BA4A5F9F17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C3CC161-539E-43A5-8E1F-879DEB8E4EA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968798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18840F14-7A09-46D9-BB8C-108A431DBC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56321" y="6355954"/>
            <a:ext cx="4114030" cy="365125"/>
          </a:xfrm>
        </p:spPr>
        <p:txBody>
          <a:bodyPr/>
          <a:lstStyle/>
          <a:p>
            <a:r>
              <a:rPr lang="en-US" dirty="0" err="1"/>
              <a:t>Avēsis</a:t>
            </a:r>
            <a:r>
              <a:rPr lang="en-US" dirty="0"/>
              <a:t> | SDLC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31DAE83A-99E8-4128-95BC-06CAA4DF99E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993636" y="6355954"/>
            <a:ext cx="2742045" cy="365125"/>
          </a:xfrm>
        </p:spPr>
        <p:txBody>
          <a:bodyPr/>
          <a:lstStyle/>
          <a:p>
            <a:fld id="{FC3CC161-539E-43A5-8E1F-879DEB8E4EA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623995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ubbles an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03CAD3D-4B30-4B72-B2F0-5E9EDE69B72E}"/>
              </a:ext>
            </a:extLst>
          </p:cNvPr>
          <p:cNvSpPr/>
          <p:nvPr userDrawn="1"/>
        </p:nvSpPr>
        <p:spPr>
          <a:xfrm rot="5400000">
            <a:off x="1771035" y="1672900"/>
            <a:ext cx="2921000" cy="5544202"/>
          </a:xfrm>
          <a:prstGeom prst="rect">
            <a:avLst/>
          </a:prstGeom>
          <a:solidFill>
            <a:schemeClr val="bg1"/>
          </a:solidFill>
          <a:ln w="25400" cap="rnd" cmpd="sng">
            <a:solidFill>
              <a:srgbClr val="D7D8D6"/>
            </a:solidFill>
            <a:prstDash val="sys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EF3DA3B1-C825-4136-B748-B3AE143E3B7F}"/>
              </a:ext>
            </a:extLst>
          </p:cNvPr>
          <p:cNvSpPr/>
          <p:nvPr userDrawn="1"/>
        </p:nvSpPr>
        <p:spPr>
          <a:xfrm>
            <a:off x="1281824" y="5684543"/>
            <a:ext cx="3899421" cy="510316"/>
          </a:xfrm>
          <a:prstGeom prst="roundRect">
            <a:avLst/>
          </a:prstGeom>
          <a:solidFill>
            <a:srgbClr val="63666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26861F-C003-425C-8CAF-D280008AE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6320" y="365125"/>
            <a:ext cx="1127936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C3ECD7-75EC-40A1-8282-2AC222F97E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81824" y="5684543"/>
            <a:ext cx="3899421" cy="510316"/>
          </a:xfrm>
        </p:spPr>
        <p:txBody>
          <a:bodyPr anchor="ctr">
            <a:noAutofit/>
          </a:bodyPr>
          <a:lstStyle>
            <a:lvl1pPr marL="0" indent="0" algn="ctr">
              <a:buNone/>
              <a:defRPr sz="1939" b="1">
                <a:solidFill>
                  <a:schemeClr val="bg1"/>
                </a:solidFill>
              </a:defRPr>
            </a:lvl1pPr>
            <a:lvl2pPr marL="554172" indent="0">
              <a:buNone/>
              <a:defRPr sz="2424" b="1"/>
            </a:lvl2pPr>
            <a:lvl3pPr marL="1108344" indent="0">
              <a:buNone/>
              <a:defRPr sz="2182" b="1"/>
            </a:lvl3pPr>
            <a:lvl4pPr marL="1662516" indent="0">
              <a:buNone/>
              <a:defRPr sz="1939" b="1"/>
            </a:lvl4pPr>
            <a:lvl5pPr marL="2216688" indent="0">
              <a:buNone/>
              <a:defRPr sz="1939" b="1"/>
            </a:lvl5pPr>
            <a:lvl6pPr marL="2770861" indent="0">
              <a:buNone/>
              <a:defRPr sz="1939" b="1"/>
            </a:lvl6pPr>
            <a:lvl7pPr marL="3325033" indent="0">
              <a:buNone/>
              <a:defRPr sz="1939" b="1"/>
            </a:lvl7pPr>
            <a:lvl8pPr marL="3879205" indent="0">
              <a:buNone/>
              <a:defRPr sz="1939" b="1"/>
            </a:lvl8pPr>
            <a:lvl9pPr marL="4433377" indent="0">
              <a:buNone/>
              <a:defRPr sz="1939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FF570B6-A5C2-46AE-80B3-3C39551B6624}"/>
              </a:ext>
            </a:extLst>
          </p:cNvPr>
          <p:cNvSpPr/>
          <p:nvPr userDrawn="1"/>
        </p:nvSpPr>
        <p:spPr>
          <a:xfrm>
            <a:off x="2169741" y="1809751"/>
            <a:ext cx="2123589" cy="2189951"/>
          </a:xfrm>
          <a:prstGeom prst="ellipse">
            <a:avLst/>
          </a:prstGeom>
          <a:solidFill>
            <a:schemeClr val="bg1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F6FF8A0-C34C-4F20-9CA4-E115C7681BBB}"/>
              </a:ext>
            </a:extLst>
          </p:cNvPr>
          <p:cNvSpPr/>
          <p:nvPr userDrawn="1"/>
        </p:nvSpPr>
        <p:spPr>
          <a:xfrm>
            <a:off x="2337285" y="1982531"/>
            <a:ext cx="1788501" cy="1844391"/>
          </a:xfrm>
          <a:prstGeom prst="ellipse">
            <a:avLst/>
          </a:prstGeom>
          <a:solidFill>
            <a:srgbClr val="D7D8D6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5A01296-773B-4633-A116-6E62BFE2F5BC}"/>
              </a:ext>
            </a:extLst>
          </p:cNvPr>
          <p:cNvSpPr/>
          <p:nvPr userDrawn="1"/>
        </p:nvSpPr>
        <p:spPr>
          <a:xfrm rot="5400000">
            <a:off x="7518619" y="1634949"/>
            <a:ext cx="2921000" cy="5552480"/>
          </a:xfrm>
          <a:prstGeom prst="rect">
            <a:avLst/>
          </a:prstGeom>
          <a:solidFill>
            <a:schemeClr val="bg1"/>
          </a:solidFill>
          <a:ln w="25400" cap="rnd" cmpd="sng">
            <a:solidFill>
              <a:srgbClr val="D7D8D6"/>
            </a:solidFill>
            <a:prstDash val="sys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17411AEF-7ED1-46BD-AE1C-8F2CB6427244}"/>
              </a:ext>
            </a:extLst>
          </p:cNvPr>
          <p:cNvSpPr/>
          <p:nvPr userDrawn="1"/>
        </p:nvSpPr>
        <p:spPr>
          <a:xfrm>
            <a:off x="7917326" y="1775938"/>
            <a:ext cx="2123589" cy="2189951"/>
          </a:xfrm>
          <a:prstGeom prst="ellipse">
            <a:avLst/>
          </a:prstGeom>
          <a:solidFill>
            <a:schemeClr val="bg1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944B7415-223E-4B8A-80D0-FF738C852908}"/>
              </a:ext>
            </a:extLst>
          </p:cNvPr>
          <p:cNvSpPr/>
          <p:nvPr userDrawn="1"/>
        </p:nvSpPr>
        <p:spPr>
          <a:xfrm>
            <a:off x="8084870" y="1948718"/>
            <a:ext cx="1788501" cy="1844391"/>
          </a:xfrm>
          <a:prstGeom prst="ellipse">
            <a:avLst/>
          </a:prstGeom>
          <a:solidFill>
            <a:srgbClr val="D7D8D6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E36D68E2-5719-404F-B390-8B8510957124}"/>
              </a:ext>
            </a:extLst>
          </p:cNvPr>
          <p:cNvSpPr/>
          <p:nvPr userDrawn="1"/>
        </p:nvSpPr>
        <p:spPr>
          <a:xfrm>
            <a:off x="7029408" y="5663145"/>
            <a:ext cx="3899421" cy="510316"/>
          </a:xfrm>
          <a:prstGeom prst="roundRect">
            <a:avLst/>
          </a:prstGeom>
          <a:solidFill>
            <a:srgbClr val="63666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77D705FD-1D45-4061-A2CE-580DAED9DEFB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7029408" y="5663145"/>
            <a:ext cx="3899421" cy="510316"/>
          </a:xfrm>
        </p:spPr>
        <p:txBody>
          <a:bodyPr anchor="ctr">
            <a:noAutofit/>
          </a:bodyPr>
          <a:lstStyle>
            <a:lvl1pPr marL="0" indent="0" algn="ctr">
              <a:buNone/>
              <a:defRPr sz="1939" b="1">
                <a:solidFill>
                  <a:schemeClr val="bg1"/>
                </a:solidFill>
              </a:defRPr>
            </a:lvl1pPr>
            <a:lvl2pPr marL="554172" indent="0">
              <a:buNone/>
              <a:defRPr sz="2424" b="1"/>
            </a:lvl2pPr>
            <a:lvl3pPr marL="1108344" indent="0">
              <a:buNone/>
              <a:defRPr sz="2182" b="1"/>
            </a:lvl3pPr>
            <a:lvl4pPr marL="1662516" indent="0">
              <a:buNone/>
              <a:defRPr sz="1939" b="1"/>
            </a:lvl4pPr>
            <a:lvl5pPr marL="2216688" indent="0">
              <a:buNone/>
              <a:defRPr sz="1939" b="1"/>
            </a:lvl5pPr>
            <a:lvl6pPr marL="2770861" indent="0">
              <a:buNone/>
              <a:defRPr sz="1939" b="1"/>
            </a:lvl6pPr>
            <a:lvl7pPr marL="3325033" indent="0">
              <a:buNone/>
              <a:defRPr sz="1939" b="1"/>
            </a:lvl7pPr>
            <a:lvl8pPr marL="3879205" indent="0">
              <a:buNone/>
              <a:defRPr sz="1939" b="1"/>
            </a:lvl8pPr>
            <a:lvl9pPr marL="4433377" indent="0">
              <a:buNone/>
              <a:defRPr sz="1939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3646A4D-4A32-43EA-BEAD-E0FC068B845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1156" y="4157266"/>
            <a:ext cx="5552480" cy="1505878"/>
          </a:xfrm>
        </p:spPr>
        <p:txBody>
          <a:bodyPr anchor="ctr"/>
          <a:lstStyle>
            <a:lvl1pPr algn="ctr">
              <a:defRPr/>
            </a:lvl1pPr>
            <a:lvl2pPr marL="761987" indent="-207815" algn="ctr">
              <a:buFont typeface="Arial" panose="020B0604020202020204" pitchFamily="34" charset="0"/>
              <a:buChar char="•"/>
              <a:defRPr/>
            </a:lvl2pPr>
            <a:lvl3pPr marL="1316159" indent="-207815" algn="ctr">
              <a:buFont typeface="Arial" panose="020B0604020202020204" pitchFamily="34" charset="0"/>
              <a:buChar char="•"/>
              <a:defRPr/>
            </a:lvl3pPr>
            <a:lvl4pPr marL="1870331" indent="-207815" algn="ctr">
              <a:buFont typeface="Arial" panose="020B0604020202020204" pitchFamily="34" charset="0"/>
              <a:buChar char="•"/>
              <a:defRPr/>
            </a:lvl4pPr>
            <a:lvl5pPr marL="2424503" indent="-207815" algn="ctr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602786FD-5401-4430-9D52-A07C1CB6AE9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02879" y="4146567"/>
            <a:ext cx="5552480" cy="1505878"/>
          </a:xfrm>
        </p:spPr>
        <p:txBody>
          <a:bodyPr anchor="ctr"/>
          <a:lstStyle>
            <a:lvl1pPr algn="ctr">
              <a:defRPr/>
            </a:lvl1pPr>
            <a:lvl2pPr marL="761987" indent="-207815" algn="ctr">
              <a:buFont typeface="Arial" panose="020B0604020202020204" pitchFamily="34" charset="0"/>
              <a:buChar char="•"/>
              <a:defRPr/>
            </a:lvl2pPr>
            <a:lvl3pPr marL="1316159" indent="-207815" algn="ctr">
              <a:buFont typeface="Arial" panose="020B0604020202020204" pitchFamily="34" charset="0"/>
              <a:buChar char="•"/>
              <a:defRPr/>
            </a:lvl3pPr>
            <a:lvl4pPr marL="1870331" indent="-207815" algn="ctr">
              <a:buFont typeface="Arial" panose="020B0604020202020204" pitchFamily="34" charset="0"/>
              <a:buChar char="•"/>
              <a:defRPr/>
            </a:lvl4pPr>
            <a:lvl5pPr marL="2424503" indent="-207815" algn="ctr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E502B65-3137-4FFD-94A1-F93DE86BEB5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456321" y="6355954"/>
            <a:ext cx="411403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err="1"/>
              <a:t>Avēsis</a:t>
            </a:r>
            <a:r>
              <a:rPr lang="en-US" dirty="0"/>
              <a:t> | SDLC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4DFBFD-EF17-42C0-86C3-253394F7FD3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8993636" y="6355954"/>
            <a:ext cx="2742045" cy="365125"/>
          </a:xfrm>
          <a:prstGeom prst="rect">
            <a:avLst/>
          </a:prstGeom>
        </p:spPr>
        <p:txBody>
          <a:bodyPr/>
          <a:lstStyle/>
          <a:p>
            <a:fld id="{FC3CC161-539E-43A5-8E1F-879DEB8E4EA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683030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ubbles an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03CAD3D-4B30-4B72-B2F0-5E9EDE69B72E}"/>
              </a:ext>
            </a:extLst>
          </p:cNvPr>
          <p:cNvSpPr/>
          <p:nvPr userDrawn="1"/>
        </p:nvSpPr>
        <p:spPr>
          <a:xfrm rot="5400000">
            <a:off x="688916" y="2755019"/>
            <a:ext cx="2921000" cy="3379965"/>
          </a:xfrm>
          <a:prstGeom prst="rect">
            <a:avLst/>
          </a:prstGeom>
          <a:solidFill>
            <a:schemeClr val="bg1"/>
          </a:solidFill>
          <a:ln w="25400" cap="rnd" cmpd="sng">
            <a:solidFill>
              <a:srgbClr val="D7D8D6"/>
            </a:solidFill>
            <a:prstDash val="sys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EF3DA3B1-C825-4136-B748-B3AE143E3B7F}"/>
              </a:ext>
            </a:extLst>
          </p:cNvPr>
          <p:cNvSpPr/>
          <p:nvPr userDrawn="1"/>
        </p:nvSpPr>
        <p:spPr>
          <a:xfrm>
            <a:off x="834986" y="5684543"/>
            <a:ext cx="2628862" cy="510316"/>
          </a:xfrm>
          <a:prstGeom prst="roundRect">
            <a:avLst/>
          </a:prstGeom>
          <a:solidFill>
            <a:srgbClr val="63666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26861F-C003-425C-8CAF-D280008AE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6320" y="365125"/>
            <a:ext cx="1127936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C3ECD7-75EC-40A1-8282-2AC222F97E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3951" y="5684543"/>
            <a:ext cx="2610932" cy="510316"/>
          </a:xfrm>
        </p:spPr>
        <p:txBody>
          <a:bodyPr anchor="ctr">
            <a:noAutofit/>
          </a:bodyPr>
          <a:lstStyle>
            <a:lvl1pPr marL="0" indent="0" algn="ctr">
              <a:buNone/>
              <a:defRPr sz="1939" b="1">
                <a:solidFill>
                  <a:schemeClr val="bg1"/>
                </a:solidFill>
              </a:defRPr>
            </a:lvl1pPr>
            <a:lvl2pPr marL="554172" indent="0">
              <a:buNone/>
              <a:defRPr sz="2424" b="1"/>
            </a:lvl2pPr>
            <a:lvl3pPr marL="1108344" indent="0">
              <a:buNone/>
              <a:defRPr sz="2182" b="1"/>
            </a:lvl3pPr>
            <a:lvl4pPr marL="1662516" indent="0">
              <a:buNone/>
              <a:defRPr sz="1939" b="1"/>
            </a:lvl4pPr>
            <a:lvl5pPr marL="2216688" indent="0">
              <a:buNone/>
              <a:defRPr sz="1939" b="1"/>
            </a:lvl5pPr>
            <a:lvl6pPr marL="2770861" indent="0">
              <a:buNone/>
              <a:defRPr sz="1939" b="1"/>
            </a:lvl6pPr>
            <a:lvl7pPr marL="3325033" indent="0">
              <a:buNone/>
              <a:defRPr sz="1939" b="1"/>
            </a:lvl7pPr>
            <a:lvl8pPr marL="3879205" indent="0">
              <a:buNone/>
              <a:defRPr sz="1939" b="1"/>
            </a:lvl8pPr>
            <a:lvl9pPr marL="4433377" indent="0">
              <a:buNone/>
              <a:defRPr sz="1939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FF570B6-A5C2-46AE-80B3-3C39551B6624}"/>
              </a:ext>
            </a:extLst>
          </p:cNvPr>
          <p:cNvSpPr/>
          <p:nvPr userDrawn="1"/>
        </p:nvSpPr>
        <p:spPr>
          <a:xfrm>
            <a:off x="1087622" y="1809751"/>
            <a:ext cx="2123589" cy="2189951"/>
          </a:xfrm>
          <a:prstGeom prst="ellipse">
            <a:avLst/>
          </a:prstGeom>
          <a:solidFill>
            <a:schemeClr val="bg1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F6FF8A0-C34C-4F20-9CA4-E115C7681BBB}"/>
              </a:ext>
            </a:extLst>
          </p:cNvPr>
          <p:cNvSpPr/>
          <p:nvPr userDrawn="1"/>
        </p:nvSpPr>
        <p:spPr>
          <a:xfrm>
            <a:off x="1255166" y="1982531"/>
            <a:ext cx="1788501" cy="1844391"/>
          </a:xfrm>
          <a:prstGeom prst="ellipse">
            <a:avLst/>
          </a:prstGeom>
          <a:solidFill>
            <a:srgbClr val="D7D8D6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23C127A-FEF8-4E8A-989A-49BF7DBF2B3C}"/>
              </a:ext>
            </a:extLst>
          </p:cNvPr>
          <p:cNvSpPr/>
          <p:nvPr userDrawn="1"/>
        </p:nvSpPr>
        <p:spPr>
          <a:xfrm rot="5400000">
            <a:off x="4631018" y="2721206"/>
            <a:ext cx="2921000" cy="3379965"/>
          </a:xfrm>
          <a:prstGeom prst="rect">
            <a:avLst/>
          </a:prstGeom>
          <a:solidFill>
            <a:schemeClr val="bg1"/>
          </a:solidFill>
          <a:ln w="25400" cap="rnd" cmpd="sng">
            <a:solidFill>
              <a:srgbClr val="D7D8D6"/>
            </a:solidFill>
            <a:prstDash val="sys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35F0C9C5-B17D-47C3-B530-B9068187B746}"/>
              </a:ext>
            </a:extLst>
          </p:cNvPr>
          <p:cNvSpPr/>
          <p:nvPr userDrawn="1"/>
        </p:nvSpPr>
        <p:spPr>
          <a:xfrm>
            <a:off x="4777088" y="5650731"/>
            <a:ext cx="2628862" cy="510316"/>
          </a:xfrm>
          <a:prstGeom prst="roundRect">
            <a:avLst/>
          </a:prstGeom>
          <a:solidFill>
            <a:srgbClr val="63666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514B478-9A7A-408C-BE5E-2AE91F7C977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786053" y="5650731"/>
            <a:ext cx="2610932" cy="510316"/>
          </a:xfrm>
        </p:spPr>
        <p:txBody>
          <a:bodyPr anchor="ctr">
            <a:noAutofit/>
          </a:bodyPr>
          <a:lstStyle>
            <a:lvl1pPr marL="0" indent="0" algn="ctr">
              <a:buNone/>
              <a:defRPr sz="1939" b="1">
                <a:solidFill>
                  <a:schemeClr val="bg1"/>
                </a:solidFill>
              </a:defRPr>
            </a:lvl1pPr>
            <a:lvl2pPr marL="554172" indent="0">
              <a:buNone/>
              <a:defRPr sz="2424" b="1"/>
            </a:lvl2pPr>
            <a:lvl3pPr marL="1108344" indent="0">
              <a:buNone/>
              <a:defRPr sz="2182" b="1"/>
            </a:lvl3pPr>
            <a:lvl4pPr marL="1662516" indent="0">
              <a:buNone/>
              <a:defRPr sz="1939" b="1"/>
            </a:lvl4pPr>
            <a:lvl5pPr marL="2216688" indent="0">
              <a:buNone/>
              <a:defRPr sz="1939" b="1"/>
            </a:lvl5pPr>
            <a:lvl6pPr marL="2770861" indent="0">
              <a:buNone/>
              <a:defRPr sz="1939" b="1"/>
            </a:lvl6pPr>
            <a:lvl7pPr marL="3325033" indent="0">
              <a:buNone/>
              <a:defRPr sz="1939" b="1"/>
            </a:lvl7pPr>
            <a:lvl8pPr marL="3879205" indent="0">
              <a:buNone/>
              <a:defRPr sz="1939" b="1"/>
            </a:lvl8pPr>
            <a:lvl9pPr marL="4433377" indent="0">
              <a:buNone/>
              <a:defRPr sz="1939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2C9DFD0C-8BE1-486A-8D3F-A1B020C24733}"/>
              </a:ext>
            </a:extLst>
          </p:cNvPr>
          <p:cNvSpPr/>
          <p:nvPr userDrawn="1"/>
        </p:nvSpPr>
        <p:spPr>
          <a:xfrm>
            <a:off x="5029724" y="1775938"/>
            <a:ext cx="2123589" cy="2189951"/>
          </a:xfrm>
          <a:prstGeom prst="ellipse">
            <a:avLst/>
          </a:prstGeom>
          <a:solidFill>
            <a:schemeClr val="bg1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91CB465-0549-41D1-89E5-74BEF9F7DDC3}"/>
              </a:ext>
            </a:extLst>
          </p:cNvPr>
          <p:cNvSpPr/>
          <p:nvPr userDrawn="1"/>
        </p:nvSpPr>
        <p:spPr>
          <a:xfrm>
            <a:off x="5197268" y="1948718"/>
            <a:ext cx="1788501" cy="1844391"/>
          </a:xfrm>
          <a:prstGeom prst="ellipse">
            <a:avLst/>
          </a:prstGeom>
          <a:solidFill>
            <a:srgbClr val="D7D8D6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5A01296-773B-4633-A116-6E62BFE2F5BC}"/>
              </a:ext>
            </a:extLst>
          </p:cNvPr>
          <p:cNvSpPr/>
          <p:nvPr userDrawn="1"/>
        </p:nvSpPr>
        <p:spPr>
          <a:xfrm rot="5400000">
            <a:off x="8590361" y="2721206"/>
            <a:ext cx="2921000" cy="3379965"/>
          </a:xfrm>
          <a:prstGeom prst="rect">
            <a:avLst/>
          </a:prstGeom>
          <a:solidFill>
            <a:schemeClr val="bg1"/>
          </a:solidFill>
          <a:ln w="25400" cap="rnd" cmpd="sng">
            <a:solidFill>
              <a:srgbClr val="D7D8D6"/>
            </a:solidFill>
            <a:prstDash val="sys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6854DA71-4395-4BFC-A6CF-1EF3F8B13855}"/>
              </a:ext>
            </a:extLst>
          </p:cNvPr>
          <p:cNvSpPr/>
          <p:nvPr userDrawn="1"/>
        </p:nvSpPr>
        <p:spPr>
          <a:xfrm>
            <a:off x="8736431" y="5650731"/>
            <a:ext cx="2628862" cy="510316"/>
          </a:xfrm>
          <a:prstGeom prst="roundRect">
            <a:avLst/>
          </a:prstGeom>
          <a:solidFill>
            <a:srgbClr val="63666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EAD27FDA-D15E-4F54-98C9-A153D719F7E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8745396" y="5650731"/>
            <a:ext cx="2610932" cy="510316"/>
          </a:xfrm>
        </p:spPr>
        <p:txBody>
          <a:bodyPr anchor="ctr">
            <a:noAutofit/>
          </a:bodyPr>
          <a:lstStyle>
            <a:lvl1pPr marL="0" indent="0" algn="ctr">
              <a:buNone/>
              <a:defRPr sz="1939" b="1">
                <a:solidFill>
                  <a:schemeClr val="bg1"/>
                </a:solidFill>
              </a:defRPr>
            </a:lvl1pPr>
            <a:lvl2pPr marL="554172" indent="0">
              <a:buNone/>
              <a:defRPr sz="2424" b="1"/>
            </a:lvl2pPr>
            <a:lvl3pPr marL="1108344" indent="0">
              <a:buNone/>
              <a:defRPr sz="2182" b="1"/>
            </a:lvl3pPr>
            <a:lvl4pPr marL="1662516" indent="0">
              <a:buNone/>
              <a:defRPr sz="1939" b="1"/>
            </a:lvl4pPr>
            <a:lvl5pPr marL="2216688" indent="0">
              <a:buNone/>
              <a:defRPr sz="1939" b="1"/>
            </a:lvl5pPr>
            <a:lvl6pPr marL="2770861" indent="0">
              <a:buNone/>
              <a:defRPr sz="1939" b="1"/>
            </a:lvl6pPr>
            <a:lvl7pPr marL="3325033" indent="0">
              <a:buNone/>
              <a:defRPr sz="1939" b="1"/>
            </a:lvl7pPr>
            <a:lvl8pPr marL="3879205" indent="0">
              <a:buNone/>
              <a:defRPr sz="1939" b="1"/>
            </a:lvl8pPr>
            <a:lvl9pPr marL="4433377" indent="0">
              <a:buNone/>
              <a:defRPr sz="1939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17411AEF-7ED1-46BD-AE1C-8F2CB6427244}"/>
              </a:ext>
            </a:extLst>
          </p:cNvPr>
          <p:cNvSpPr/>
          <p:nvPr userDrawn="1"/>
        </p:nvSpPr>
        <p:spPr>
          <a:xfrm>
            <a:off x="8989067" y="1775938"/>
            <a:ext cx="2123589" cy="2189951"/>
          </a:xfrm>
          <a:prstGeom prst="ellipse">
            <a:avLst/>
          </a:prstGeom>
          <a:solidFill>
            <a:schemeClr val="bg1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944B7415-223E-4B8A-80D0-FF738C852908}"/>
              </a:ext>
            </a:extLst>
          </p:cNvPr>
          <p:cNvSpPr/>
          <p:nvPr userDrawn="1"/>
        </p:nvSpPr>
        <p:spPr>
          <a:xfrm>
            <a:off x="9156611" y="1948718"/>
            <a:ext cx="1788501" cy="1844391"/>
          </a:xfrm>
          <a:prstGeom prst="ellipse">
            <a:avLst/>
          </a:prstGeom>
          <a:solidFill>
            <a:srgbClr val="D7D8D6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34C21D0D-4EDF-428F-A3F9-7DED5C37F0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1156" y="4138669"/>
            <a:ext cx="3379966" cy="1505878"/>
          </a:xfrm>
        </p:spPr>
        <p:txBody>
          <a:bodyPr anchor="ctr"/>
          <a:lstStyle>
            <a:lvl1pPr algn="ctr">
              <a:defRPr/>
            </a:lvl1pPr>
            <a:lvl2pPr marL="761987" indent="-207815" algn="ctr">
              <a:buFont typeface="Arial" panose="020B0604020202020204" pitchFamily="34" charset="0"/>
              <a:buChar char="•"/>
              <a:defRPr/>
            </a:lvl2pPr>
            <a:lvl3pPr marL="1316159" indent="-207815" algn="ctr">
              <a:buFont typeface="Arial" panose="020B0604020202020204" pitchFamily="34" charset="0"/>
              <a:buChar char="•"/>
              <a:defRPr/>
            </a:lvl3pPr>
            <a:lvl4pPr marL="1870331" indent="-207815" algn="ctr">
              <a:buFont typeface="Arial" panose="020B0604020202020204" pitchFamily="34" charset="0"/>
              <a:buChar char="•"/>
              <a:defRPr/>
            </a:lvl4pPr>
            <a:lvl5pPr marL="2424503" indent="-207815" algn="ctr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54756D37-D4F2-40E3-BB83-0209CB18A74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01535" y="4138669"/>
            <a:ext cx="3379966" cy="1505878"/>
          </a:xfrm>
        </p:spPr>
        <p:txBody>
          <a:bodyPr anchor="ctr"/>
          <a:lstStyle>
            <a:lvl1pPr algn="ctr">
              <a:defRPr/>
            </a:lvl1pPr>
            <a:lvl2pPr marL="761987" indent="-207815" algn="ctr">
              <a:buFont typeface="Arial" panose="020B0604020202020204" pitchFamily="34" charset="0"/>
              <a:buChar char="•"/>
              <a:defRPr/>
            </a:lvl2pPr>
            <a:lvl3pPr marL="1316159" indent="-207815" algn="ctr">
              <a:buFont typeface="Arial" panose="020B0604020202020204" pitchFamily="34" charset="0"/>
              <a:buChar char="•"/>
              <a:defRPr/>
            </a:lvl3pPr>
            <a:lvl4pPr marL="1870331" indent="-207815" algn="ctr">
              <a:buFont typeface="Arial" panose="020B0604020202020204" pitchFamily="34" charset="0"/>
              <a:buChar char="•"/>
              <a:defRPr/>
            </a:lvl4pPr>
            <a:lvl5pPr marL="2424503" indent="-207815" algn="ctr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A65CB4A0-07D4-437A-905F-25B557891DD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43636" y="4138669"/>
            <a:ext cx="3379966" cy="1505878"/>
          </a:xfrm>
        </p:spPr>
        <p:txBody>
          <a:bodyPr anchor="ctr"/>
          <a:lstStyle>
            <a:lvl1pPr algn="ctr">
              <a:defRPr/>
            </a:lvl1pPr>
            <a:lvl2pPr marL="761987" indent="-207815" algn="ctr">
              <a:buFont typeface="Arial" panose="020B0604020202020204" pitchFamily="34" charset="0"/>
              <a:buChar char="•"/>
              <a:defRPr/>
            </a:lvl2pPr>
            <a:lvl3pPr marL="1316159" indent="-207815" algn="ctr">
              <a:buFont typeface="Arial" panose="020B0604020202020204" pitchFamily="34" charset="0"/>
              <a:buChar char="•"/>
              <a:defRPr/>
            </a:lvl3pPr>
            <a:lvl4pPr marL="1870331" indent="-207815" algn="ctr">
              <a:buFont typeface="Arial" panose="020B0604020202020204" pitchFamily="34" charset="0"/>
              <a:buChar char="•"/>
              <a:defRPr/>
            </a:lvl4pPr>
            <a:lvl5pPr marL="2424503" indent="-207815" algn="ctr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36D8C3-8738-4D3E-8CDD-FDE93B5AD77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56321" y="6355954"/>
            <a:ext cx="411403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err="1"/>
              <a:t>Avēsis</a:t>
            </a:r>
            <a:r>
              <a:rPr lang="en-US" dirty="0"/>
              <a:t> | SDLC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447BC-9BF3-401D-BB18-6480B746E66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8993636" y="6355954"/>
            <a:ext cx="2742045" cy="365125"/>
          </a:xfrm>
          <a:prstGeom prst="rect">
            <a:avLst/>
          </a:prstGeom>
        </p:spPr>
        <p:txBody>
          <a:bodyPr/>
          <a:lstStyle/>
          <a:p>
            <a:fld id="{FC3CC161-539E-43A5-8E1F-879DEB8E4EA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269924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Bubbles and Boxes_sh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03CAD3D-4B30-4B72-B2F0-5E9EDE69B72E}"/>
              </a:ext>
            </a:extLst>
          </p:cNvPr>
          <p:cNvSpPr/>
          <p:nvPr userDrawn="1"/>
        </p:nvSpPr>
        <p:spPr>
          <a:xfrm rot="5400000">
            <a:off x="911166" y="2977269"/>
            <a:ext cx="2476499" cy="3379965"/>
          </a:xfrm>
          <a:prstGeom prst="rect">
            <a:avLst/>
          </a:prstGeom>
          <a:solidFill>
            <a:schemeClr val="bg1"/>
          </a:solidFill>
          <a:ln w="25400" cap="rnd" cmpd="sng">
            <a:solidFill>
              <a:srgbClr val="D7D8D6"/>
            </a:solidFill>
            <a:prstDash val="sys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EF3DA3B1-C825-4136-B748-B3AE143E3B7F}"/>
              </a:ext>
            </a:extLst>
          </p:cNvPr>
          <p:cNvSpPr/>
          <p:nvPr userDrawn="1"/>
        </p:nvSpPr>
        <p:spPr>
          <a:xfrm>
            <a:off x="817745" y="5652550"/>
            <a:ext cx="2628862" cy="510316"/>
          </a:xfrm>
          <a:prstGeom prst="roundRect">
            <a:avLst/>
          </a:prstGeom>
          <a:solidFill>
            <a:srgbClr val="63666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26861F-C003-425C-8CAF-D280008AE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6320" y="365125"/>
            <a:ext cx="1127936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C3ECD7-75EC-40A1-8282-2AC222F97E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3951" y="5684543"/>
            <a:ext cx="2610932" cy="510316"/>
          </a:xfrm>
        </p:spPr>
        <p:txBody>
          <a:bodyPr anchor="ctr">
            <a:noAutofit/>
          </a:bodyPr>
          <a:lstStyle>
            <a:lvl1pPr marL="0" indent="0" algn="ctr">
              <a:buNone/>
              <a:defRPr sz="1939" b="1">
                <a:solidFill>
                  <a:schemeClr val="bg1"/>
                </a:solidFill>
              </a:defRPr>
            </a:lvl1pPr>
            <a:lvl2pPr marL="554172" indent="0">
              <a:buNone/>
              <a:defRPr sz="2424" b="1"/>
            </a:lvl2pPr>
            <a:lvl3pPr marL="1108344" indent="0">
              <a:buNone/>
              <a:defRPr sz="2182" b="1"/>
            </a:lvl3pPr>
            <a:lvl4pPr marL="1662516" indent="0">
              <a:buNone/>
              <a:defRPr sz="1939" b="1"/>
            </a:lvl4pPr>
            <a:lvl5pPr marL="2216688" indent="0">
              <a:buNone/>
              <a:defRPr sz="1939" b="1"/>
            </a:lvl5pPr>
            <a:lvl6pPr marL="2770861" indent="0">
              <a:buNone/>
              <a:defRPr sz="1939" b="1"/>
            </a:lvl6pPr>
            <a:lvl7pPr marL="3325033" indent="0">
              <a:buNone/>
              <a:defRPr sz="1939" b="1"/>
            </a:lvl7pPr>
            <a:lvl8pPr marL="3879205" indent="0">
              <a:buNone/>
              <a:defRPr sz="1939" b="1"/>
            </a:lvl8pPr>
            <a:lvl9pPr marL="4433377" indent="0">
              <a:buNone/>
              <a:defRPr sz="1939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FF570B6-A5C2-46AE-80B3-3C39551B6624}"/>
              </a:ext>
            </a:extLst>
          </p:cNvPr>
          <p:cNvSpPr/>
          <p:nvPr userDrawn="1"/>
        </p:nvSpPr>
        <p:spPr>
          <a:xfrm>
            <a:off x="1087622" y="2286800"/>
            <a:ext cx="2123589" cy="2189951"/>
          </a:xfrm>
          <a:prstGeom prst="ellipse">
            <a:avLst/>
          </a:prstGeom>
          <a:solidFill>
            <a:schemeClr val="bg1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F6FF8A0-C34C-4F20-9CA4-E115C7681BBB}"/>
              </a:ext>
            </a:extLst>
          </p:cNvPr>
          <p:cNvSpPr/>
          <p:nvPr userDrawn="1"/>
        </p:nvSpPr>
        <p:spPr>
          <a:xfrm>
            <a:off x="1255166" y="2459580"/>
            <a:ext cx="1788501" cy="1844391"/>
          </a:xfrm>
          <a:prstGeom prst="ellipse">
            <a:avLst/>
          </a:prstGeom>
          <a:solidFill>
            <a:srgbClr val="D7D8D6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23C127A-FEF8-4E8A-989A-49BF7DBF2B3C}"/>
              </a:ext>
            </a:extLst>
          </p:cNvPr>
          <p:cNvSpPr/>
          <p:nvPr userDrawn="1"/>
        </p:nvSpPr>
        <p:spPr>
          <a:xfrm rot="5400000">
            <a:off x="4853269" y="2943458"/>
            <a:ext cx="2476498" cy="3379965"/>
          </a:xfrm>
          <a:prstGeom prst="rect">
            <a:avLst/>
          </a:prstGeom>
          <a:solidFill>
            <a:schemeClr val="bg1"/>
          </a:solidFill>
          <a:ln w="25400" cap="rnd" cmpd="sng">
            <a:solidFill>
              <a:srgbClr val="D7D8D6"/>
            </a:solidFill>
            <a:prstDash val="sys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35F0C9C5-B17D-47C3-B530-B9068187B746}"/>
              </a:ext>
            </a:extLst>
          </p:cNvPr>
          <p:cNvSpPr/>
          <p:nvPr userDrawn="1"/>
        </p:nvSpPr>
        <p:spPr>
          <a:xfrm>
            <a:off x="4777088" y="5650731"/>
            <a:ext cx="2628862" cy="510316"/>
          </a:xfrm>
          <a:prstGeom prst="roundRect">
            <a:avLst/>
          </a:prstGeom>
          <a:solidFill>
            <a:srgbClr val="63666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514B478-9A7A-408C-BE5E-2AE91F7C977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786053" y="5650731"/>
            <a:ext cx="2610932" cy="510316"/>
          </a:xfrm>
        </p:spPr>
        <p:txBody>
          <a:bodyPr anchor="ctr">
            <a:noAutofit/>
          </a:bodyPr>
          <a:lstStyle>
            <a:lvl1pPr marL="0" indent="0" algn="ctr">
              <a:buNone/>
              <a:defRPr sz="1939" b="1">
                <a:solidFill>
                  <a:schemeClr val="bg1"/>
                </a:solidFill>
              </a:defRPr>
            </a:lvl1pPr>
            <a:lvl2pPr marL="554172" indent="0">
              <a:buNone/>
              <a:defRPr sz="2424" b="1"/>
            </a:lvl2pPr>
            <a:lvl3pPr marL="1108344" indent="0">
              <a:buNone/>
              <a:defRPr sz="2182" b="1"/>
            </a:lvl3pPr>
            <a:lvl4pPr marL="1662516" indent="0">
              <a:buNone/>
              <a:defRPr sz="1939" b="1"/>
            </a:lvl4pPr>
            <a:lvl5pPr marL="2216688" indent="0">
              <a:buNone/>
              <a:defRPr sz="1939" b="1"/>
            </a:lvl5pPr>
            <a:lvl6pPr marL="2770861" indent="0">
              <a:buNone/>
              <a:defRPr sz="1939" b="1"/>
            </a:lvl6pPr>
            <a:lvl7pPr marL="3325033" indent="0">
              <a:buNone/>
              <a:defRPr sz="1939" b="1"/>
            </a:lvl7pPr>
            <a:lvl8pPr marL="3879205" indent="0">
              <a:buNone/>
              <a:defRPr sz="1939" b="1"/>
            </a:lvl8pPr>
            <a:lvl9pPr marL="4433377" indent="0">
              <a:buNone/>
              <a:defRPr sz="1939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2C9DFD0C-8BE1-486A-8D3F-A1B020C24733}"/>
              </a:ext>
            </a:extLst>
          </p:cNvPr>
          <p:cNvSpPr/>
          <p:nvPr userDrawn="1"/>
        </p:nvSpPr>
        <p:spPr>
          <a:xfrm>
            <a:off x="5029724" y="2252987"/>
            <a:ext cx="2123589" cy="2189951"/>
          </a:xfrm>
          <a:prstGeom prst="ellipse">
            <a:avLst/>
          </a:prstGeom>
          <a:solidFill>
            <a:schemeClr val="bg1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91CB465-0549-41D1-89E5-74BEF9F7DDC3}"/>
              </a:ext>
            </a:extLst>
          </p:cNvPr>
          <p:cNvSpPr/>
          <p:nvPr userDrawn="1"/>
        </p:nvSpPr>
        <p:spPr>
          <a:xfrm>
            <a:off x="5197268" y="2425767"/>
            <a:ext cx="1788501" cy="1844391"/>
          </a:xfrm>
          <a:prstGeom prst="ellipse">
            <a:avLst/>
          </a:prstGeom>
          <a:solidFill>
            <a:srgbClr val="D7D8D6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5A01296-773B-4633-A116-6E62BFE2F5BC}"/>
              </a:ext>
            </a:extLst>
          </p:cNvPr>
          <p:cNvSpPr/>
          <p:nvPr userDrawn="1"/>
        </p:nvSpPr>
        <p:spPr>
          <a:xfrm rot="5400000">
            <a:off x="8812612" y="2943458"/>
            <a:ext cx="2476498" cy="3379965"/>
          </a:xfrm>
          <a:prstGeom prst="rect">
            <a:avLst/>
          </a:prstGeom>
          <a:solidFill>
            <a:schemeClr val="bg1"/>
          </a:solidFill>
          <a:ln w="25400" cap="rnd" cmpd="sng">
            <a:solidFill>
              <a:srgbClr val="D7D8D6"/>
            </a:solidFill>
            <a:prstDash val="sys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6854DA71-4395-4BFC-A6CF-1EF3F8B13855}"/>
              </a:ext>
            </a:extLst>
          </p:cNvPr>
          <p:cNvSpPr/>
          <p:nvPr userDrawn="1"/>
        </p:nvSpPr>
        <p:spPr>
          <a:xfrm>
            <a:off x="8736431" y="5650731"/>
            <a:ext cx="2628862" cy="510316"/>
          </a:xfrm>
          <a:prstGeom prst="roundRect">
            <a:avLst/>
          </a:prstGeom>
          <a:solidFill>
            <a:srgbClr val="63666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EAD27FDA-D15E-4F54-98C9-A153D719F7E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8745396" y="5650731"/>
            <a:ext cx="2610932" cy="510316"/>
          </a:xfrm>
        </p:spPr>
        <p:txBody>
          <a:bodyPr anchor="ctr">
            <a:noAutofit/>
          </a:bodyPr>
          <a:lstStyle>
            <a:lvl1pPr marL="0" indent="0" algn="ctr">
              <a:buNone/>
              <a:defRPr sz="1939" b="1">
                <a:solidFill>
                  <a:schemeClr val="bg1"/>
                </a:solidFill>
              </a:defRPr>
            </a:lvl1pPr>
            <a:lvl2pPr marL="554172" indent="0">
              <a:buNone/>
              <a:defRPr sz="2424" b="1"/>
            </a:lvl2pPr>
            <a:lvl3pPr marL="1108344" indent="0">
              <a:buNone/>
              <a:defRPr sz="2182" b="1"/>
            </a:lvl3pPr>
            <a:lvl4pPr marL="1662516" indent="0">
              <a:buNone/>
              <a:defRPr sz="1939" b="1"/>
            </a:lvl4pPr>
            <a:lvl5pPr marL="2216688" indent="0">
              <a:buNone/>
              <a:defRPr sz="1939" b="1"/>
            </a:lvl5pPr>
            <a:lvl6pPr marL="2770861" indent="0">
              <a:buNone/>
              <a:defRPr sz="1939" b="1"/>
            </a:lvl6pPr>
            <a:lvl7pPr marL="3325033" indent="0">
              <a:buNone/>
              <a:defRPr sz="1939" b="1"/>
            </a:lvl7pPr>
            <a:lvl8pPr marL="3879205" indent="0">
              <a:buNone/>
              <a:defRPr sz="1939" b="1"/>
            </a:lvl8pPr>
            <a:lvl9pPr marL="4433377" indent="0">
              <a:buNone/>
              <a:defRPr sz="1939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17411AEF-7ED1-46BD-AE1C-8F2CB6427244}"/>
              </a:ext>
            </a:extLst>
          </p:cNvPr>
          <p:cNvSpPr/>
          <p:nvPr userDrawn="1"/>
        </p:nvSpPr>
        <p:spPr>
          <a:xfrm>
            <a:off x="8989067" y="2252987"/>
            <a:ext cx="2123589" cy="2189951"/>
          </a:xfrm>
          <a:prstGeom prst="ellipse">
            <a:avLst/>
          </a:prstGeom>
          <a:solidFill>
            <a:schemeClr val="bg1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944B7415-223E-4B8A-80D0-FF738C852908}"/>
              </a:ext>
            </a:extLst>
          </p:cNvPr>
          <p:cNvSpPr/>
          <p:nvPr userDrawn="1"/>
        </p:nvSpPr>
        <p:spPr>
          <a:xfrm>
            <a:off x="9156611" y="2425767"/>
            <a:ext cx="1788501" cy="1844391"/>
          </a:xfrm>
          <a:prstGeom prst="ellipse">
            <a:avLst/>
          </a:prstGeom>
          <a:solidFill>
            <a:srgbClr val="D7D8D6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34C21D0D-4EDF-428F-A3F9-7DED5C37F0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1156" y="4615719"/>
            <a:ext cx="3379966" cy="1028828"/>
          </a:xfrm>
        </p:spPr>
        <p:txBody>
          <a:bodyPr anchor="ctr"/>
          <a:lstStyle>
            <a:lvl1pPr algn="ctr">
              <a:defRPr/>
            </a:lvl1pPr>
            <a:lvl2pPr marL="761987" indent="-207815" algn="ctr">
              <a:buFont typeface="Arial" panose="020B0604020202020204" pitchFamily="34" charset="0"/>
              <a:buChar char="•"/>
              <a:defRPr/>
            </a:lvl2pPr>
            <a:lvl3pPr marL="1316159" indent="-207815" algn="ctr">
              <a:buFont typeface="Arial" panose="020B0604020202020204" pitchFamily="34" charset="0"/>
              <a:buChar char="•"/>
              <a:defRPr/>
            </a:lvl3pPr>
            <a:lvl4pPr marL="1870331" indent="-207815" algn="ctr">
              <a:buFont typeface="Arial" panose="020B0604020202020204" pitchFamily="34" charset="0"/>
              <a:buChar char="•"/>
              <a:defRPr/>
            </a:lvl4pPr>
            <a:lvl5pPr marL="2424503" indent="-207815" algn="ctr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54756D37-D4F2-40E3-BB83-0209CB18A74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01535" y="4615719"/>
            <a:ext cx="3379966" cy="1028828"/>
          </a:xfrm>
        </p:spPr>
        <p:txBody>
          <a:bodyPr anchor="ctr"/>
          <a:lstStyle>
            <a:lvl1pPr algn="ctr">
              <a:defRPr/>
            </a:lvl1pPr>
            <a:lvl2pPr marL="761987" indent="-207815" algn="ctr">
              <a:buFont typeface="Arial" panose="020B0604020202020204" pitchFamily="34" charset="0"/>
              <a:buChar char="•"/>
              <a:defRPr/>
            </a:lvl2pPr>
            <a:lvl3pPr marL="1316159" indent="-207815" algn="ctr">
              <a:buFont typeface="Arial" panose="020B0604020202020204" pitchFamily="34" charset="0"/>
              <a:buChar char="•"/>
              <a:defRPr/>
            </a:lvl3pPr>
            <a:lvl4pPr marL="1870331" indent="-207815" algn="ctr">
              <a:buFont typeface="Arial" panose="020B0604020202020204" pitchFamily="34" charset="0"/>
              <a:buChar char="•"/>
              <a:defRPr/>
            </a:lvl4pPr>
            <a:lvl5pPr marL="2424503" indent="-207815" algn="ctr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A65CB4A0-07D4-437A-905F-25B557891DD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43636" y="4615719"/>
            <a:ext cx="3379966" cy="1028828"/>
          </a:xfrm>
        </p:spPr>
        <p:txBody>
          <a:bodyPr anchor="ctr"/>
          <a:lstStyle>
            <a:lvl1pPr algn="ctr">
              <a:defRPr/>
            </a:lvl1pPr>
            <a:lvl2pPr marL="761987" indent="-207815" algn="ctr">
              <a:buFont typeface="Arial" panose="020B0604020202020204" pitchFamily="34" charset="0"/>
              <a:buChar char="•"/>
              <a:defRPr/>
            </a:lvl2pPr>
            <a:lvl3pPr marL="1316159" indent="-207815" algn="ctr">
              <a:buFont typeface="Arial" panose="020B0604020202020204" pitchFamily="34" charset="0"/>
              <a:buChar char="•"/>
              <a:defRPr/>
            </a:lvl3pPr>
            <a:lvl4pPr marL="1870331" indent="-207815" algn="ctr">
              <a:buFont typeface="Arial" panose="020B0604020202020204" pitchFamily="34" charset="0"/>
              <a:buChar char="•"/>
              <a:defRPr/>
            </a:lvl4pPr>
            <a:lvl5pPr marL="2424503" indent="-207815" algn="ctr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36D8C3-8738-4D3E-8CDD-FDE93B5AD77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56321" y="6355954"/>
            <a:ext cx="411403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err="1"/>
              <a:t>Avēsis</a:t>
            </a:r>
            <a:r>
              <a:rPr lang="en-US" dirty="0"/>
              <a:t> | SDLC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447BC-9BF3-401D-BB18-6480B746E66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8993636" y="6355954"/>
            <a:ext cx="2742045" cy="365125"/>
          </a:xfrm>
          <a:prstGeom prst="rect">
            <a:avLst/>
          </a:prstGeom>
        </p:spPr>
        <p:txBody>
          <a:bodyPr/>
          <a:lstStyle/>
          <a:p>
            <a:fld id="{FC3CC161-539E-43A5-8E1F-879DEB8E4EA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18076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Bubbles an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D2E0D4A-EF65-4BA3-82FE-B3831C4301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5295" y="6355954"/>
            <a:ext cx="411403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err="1"/>
              <a:t>Avēsis</a:t>
            </a:r>
            <a:r>
              <a:rPr lang="en-US" dirty="0"/>
              <a:t> | SDLC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FE0F0E0-34C2-40B8-A7C5-E295B941B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93636" y="6355954"/>
            <a:ext cx="2742045" cy="365125"/>
          </a:xfrm>
          <a:prstGeom prst="rect">
            <a:avLst/>
          </a:prstGeom>
        </p:spPr>
        <p:txBody>
          <a:bodyPr/>
          <a:lstStyle/>
          <a:p>
            <a:fld id="{FC3CC161-539E-43A5-8E1F-879DEB8E4EA0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26861F-C003-425C-8CAF-D280008AE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6320" y="365125"/>
            <a:ext cx="1127936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FF570B6-A5C2-46AE-80B3-3C39551B6624}"/>
              </a:ext>
            </a:extLst>
          </p:cNvPr>
          <p:cNvSpPr/>
          <p:nvPr userDrawn="1"/>
        </p:nvSpPr>
        <p:spPr>
          <a:xfrm>
            <a:off x="978503" y="1811071"/>
            <a:ext cx="1768705" cy="1823978"/>
          </a:xfrm>
          <a:prstGeom prst="ellipse">
            <a:avLst/>
          </a:prstGeom>
          <a:solidFill>
            <a:schemeClr val="bg1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F6FF8A0-C34C-4F20-9CA4-E115C7681BBB}"/>
              </a:ext>
            </a:extLst>
          </p:cNvPr>
          <p:cNvSpPr/>
          <p:nvPr userDrawn="1"/>
        </p:nvSpPr>
        <p:spPr>
          <a:xfrm>
            <a:off x="1118049" y="1954978"/>
            <a:ext cx="1489616" cy="1536166"/>
          </a:xfrm>
          <a:prstGeom prst="ellipse">
            <a:avLst/>
          </a:prstGeom>
          <a:solidFill>
            <a:srgbClr val="D7D8D6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2C9DFD0C-8BE1-486A-8D3F-A1B020C24733}"/>
              </a:ext>
            </a:extLst>
          </p:cNvPr>
          <p:cNvSpPr/>
          <p:nvPr userDrawn="1"/>
        </p:nvSpPr>
        <p:spPr>
          <a:xfrm>
            <a:off x="5211646" y="1798482"/>
            <a:ext cx="1768705" cy="1823978"/>
          </a:xfrm>
          <a:prstGeom prst="ellipse">
            <a:avLst/>
          </a:prstGeom>
          <a:solidFill>
            <a:schemeClr val="bg1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91CB465-0549-41D1-89E5-74BEF9F7DDC3}"/>
              </a:ext>
            </a:extLst>
          </p:cNvPr>
          <p:cNvSpPr/>
          <p:nvPr userDrawn="1"/>
        </p:nvSpPr>
        <p:spPr>
          <a:xfrm>
            <a:off x="5351192" y="1942390"/>
            <a:ext cx="1489616" cy="1536166"/>
          </a:xfrm>
          <a:prstGeom prst="ellipse">
            <a:avLst/>
          </a:prstGeom>
          <a:solidFill>
            <a:srgbClr val="D7D8D6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17411AEF-7ED1-46BD-AE1C-8F2CB6427244}"/>
              </a:ext>
            </a:extLst>
          </p:cNvPr>
          <p:cNvSpPr/>
          <p:nvPr userDrawn="1"/>
        </p:nvSpPr>
        <p:spPr>
          <a:xfrm>
            <a:off x="9444791" y="1798482"/>
            <a:ext cx="1768705" cy="1823978"/>
          </a:xfrm>
          <a:prstGeom prst="ellipse">
            <a:avLst/>
          </a:prstGeom>
          <a:solidFill>
            <a:schemeClr val="bg1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944B7415-223E-4B8A-80D0-FF738C852908}"/>
              </a:ext>
            </a:extLst>
          </p:cNvPr>
          <p:cNvSpPr/>
          <p:nvPr userDrawn="1"/>
        </p:nvSpPr>
        <p:spPr>
          <a:xfrm>
            <a:off x="9584336" y="1942390"/>
            <a:ext cx="1489616" cy="1536166"/>
          </a:xfrm>
          <a:prstGeom prst="ellipse">
            <a:avLst/>
          </a:prstGeom>
          <a:solidFill>
            <a:srgbClr val="D7D8D6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34C21D0D-4EDF-428F-A3F9-7DED5C37F0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5295" y="3741069"/>
            <a:ext cx="2815124" cy="352864"/>
          </a:xfrm>
        </p:spPr>
        <p:txBody>
          <a:bodyPr anchor="ctr"/>
          <a:lstStyle>
            <a:lvl1pPr marL="0" indent="0" algn="ctr">
              <a:buNone/>
              <a:defRPr/>
            </a:lvl1pPr>
            <a:lvl2pPr marL="554172" indent="0" algn="ctr">
              <a:buFont typeface="Arial" panose="020B0604020202020204" pitchFamily="34" charset="0"/>
              <a:buNone/>
              <a:defRPr/>
            </a:lvl2pPr>
            <a:lvl3pPr marL="1108344" indent="0" algn="ctr">
              <a:buFont typeface="Arial" panose="020B0604020202020204" pitchFamily="34" charset="0"/>
              <a:buNone/>
              <a:defRPr/>
            </a:lvl3pPr>
            <a:lvl4pPr marL="1662516" indent="0" algn="ctr">
              <a:buFont typeface="Arial" panose="020B0604020202020204" pitchFamily="34" charset="0"/>
              <a:buNone/>
              <a:defRPr/>
            </a:lvl4pPr>
            <a:lvl5pPr marL="2216688" indent="0" algn="ct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54756D37-D4F2-40E3-BB83-0209CB18A74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88438" y="3728481"/>
            <a:ext cx="2815124" cy="378040"/>
          </a:xfrm>
        </p:spPr>
        <p:txBody>
          <a:bodyPr anchor="ctr"/>
          <a:lstStyle>
            <a:lvl1pPr marL="0" indent="0" algn="ctr">
              <a:buNone/>
              <a:defRPr/>
            </a:lvl1pPr>
            <a:lvl2pPr marL="554172" indent="0" algn="ctr">
              <a:buFont typeface="Arial" panose="020B0604020202020204" pitchFamily="34" charset="0"/>
              <a:buNone/>
              <a:defRPr/>
            </a:lvl2pPr>
            <a:lvl3pPr marL="1108344" indent="0" algn="ctr">
              <a:buFont typeface="Arial" panose="020B0604020202020204" pitchFamily="34" charset="0"/>
              <a:buNone/>
              <a:defRPr/>
            </a:lvl3pPr>
            <a:lvl4pPr marL="1662516" indent="0" algn="ctr">
              <a:buFont typeface="Arial" panose="020B0604020202020204" pitchFamily="34" charset="0"/>
              <a:buNone/>
              <a:defRPr/>
            </a:lvl4pPr>
            <a:lvl5pPr marL="2216688" indent="0" algn="ct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A65CB4A0-07D4-437A-905F-25B557891DD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21582" y="3728483"/>
            <a:ext cx="2815124" cy="365125"/>
          </a:xfrm>
        </p:spPr>
        <p:txBody>
          <a:bodyPr anchor="ctr"/>
          <a:lstStyle>
            <a:lvl1pPr marL="0" indent="0" algn="ctr">
              <a:buNone/>
              <a:defRPr/>
            </a:lvl1pPr>
            <a:lvl2pPr marL="554172" indent="0" algn="ctr">
              <a:buFont typeface="Arial" panose="020B0604020202020204" pitchFamily="34" charset="0"/>
              <a:buNone/>
              <a:defRPr/>
            </a:lvl2pPr>
            <a:lvl3pPr marL="1108344" indent="0" algn="ctr">
              <a:buFont typeface="Arial" panose="020B0604020202020204" pitchFamily="34" charset="0"/>
              <a:buNone/>
              <a:defRPr/>
            </a:lvl3pPr>
            <a:lvl4pPr marL="1662516" indent="0" algn="ctr">
              <a:buFont typeface="Arial" panose="020B0604020202020204" pitchFamily="34" charset="0"/>
              <a:buNone/>
              <a:defRPr/>
            </a:lvl4pPr>
            <a:lvl5pPr marL="2216688" indent="0" algn="ct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7CB43186-DAF9-41B9-9B8F-1AA1F190584A}"/>
              </a:ext>
            </a:extLst>
          </p:cNvPr>
          <p:cNvSpPr/>
          <p:nvPr userDrawn="1"/>
        </p:nvSpPr>
        <p:spPr>
          <a:xfrm>
            <a:off x="3077089" y="3962615"/>
            <a:ext cx="1768705" cy="1823978"/>
          </a:xfrm>
          <a:prstGeom prst="ellipse">
            <a:avLst/>
          </a:prstGeom>
          <a:solidFill>
            <a:schemeClr val="bg1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5AE1DF19-1787-40DA-B700-A0F5D0230553}"/>
              </a:ext>
            </a:extLst>
          </p:cNvPr>
          <p:cNvSpPr/>
          <p:nvPr userDrawn="1"/>
        </p:nvSpPr>
        <p:spPr>
          <a:xfrm>
            <a:off x="3216634" y="4106522"/>
            <a:ext cx="1489616" cy="1536166"/>
          </a:xfrm>
          <a:prstGeom prst="ellipse">
            <a:avLst/>
          </a:prstGeom>
          <a:solidFill>
            <a:srgbClr val="D7D8D6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C61BF18E-2C8E-44FC-A552-93B181B93B13}"/>
              </a:ext>
            </a:extLst>
          </p:cNvPr>
          <p:cNvSpPr/>
          <p:nvPr userDrawn="1"/>
        </p:nvSpPr>
        <p:spPr>
          <a:xfrm>
            <a:off x="7310232" y="3950026"/>
            <a:ext cx="1768705" cy="1823978"/>
          </a:xfrm>
          <a:prstGeom prst="ellipse">
            <a:avLst/>
          </a:prstGeom>
          <a:solidFill>
            <a:schemeClr val="bg1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48671331-D619-473C-A700-0E9C5C89A534}"/>
              </a:ext>
            </a:extLst>
          </p:cNvPr>
          <p:cNvSpPr/>
          <p:nvPr userDrawn="1"/>
        </p:nvSpPr>
        <p:spPr>
          <a:xfrm>
            <a:off x="7449777" y="4093933"/>
            <a:ext cx="1489616" cy="1536166"/>
          </a:xfrm>
          <a:prstGeom prst="ellipse">
            <a:avLst/>
          </a:prstGeom>
          <a:solidFill>
            <a:srgbClr val="D7D8D6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8D270D77-D512-43FF-8F73-F1A95203E68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53880" y="5892613"/>
            <a:ext cx="2815124" cy="378040"/>
          </a:xfrm>
        </p:spPr>
        <p:txBody>
          <a:bodyPr anchor="ctr"/>
          <a:lstStyle>
            <a:lvl1pPr marL="0" indent="0" algn="ctr">
              <a:buNone/>
              <a:defRPr/>
            </a:lvl1pPr>
            <a:lvl2pPr marL="554172" indent="0" algn="ctr">
              <a:buFont typeface="Arial" panose="020B0604020202020204" pitchFamily="34" charset="0"/>
              <a:buNone/>
              <a:defRPr/>
            </a:lvl2pPr>
            <a:lvl3pPr marL="1108344" indent="0" algn="ctr">
              <a:buFont typeface="Arial" panose="020B0604020202020204" pitchFamily="34" charset="0"/>
              <a:buNone/>
              <a:defRPr/>
            </a:lvl3pPr>
            <a:lvl4pPr marL="1662516" indent="0" algn="ctr">
              <a:buFont typeface="Arial" panose="020B0604020202020204" pitchFamily="34" charset="0"/>
              <a:buNone/>
              <a:defRPr/>
            </a:lvl4pPr>
            <a:lvl5pPr marL="2216688" indent="0" algn="ct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CEBA6A70-4958-48C2-A80A-4BCCE9983D7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787023" y="5880025"/>
            <a:ext cx="2815124" cy="390628"/>
          </a:xfrm>
        </p:spPr>
        <p:txBody>
          <a:bodyPr anchor="ctr"/>
          <a:lstStyle>
            <a:lvl1pPr marL="0" indent="0" algn="ctr">
              <a:buNone/>
              <a:defRPr/>
            </a:lvl1pPr>
            <a:lvl2pPr marL="554172" indent="0" algn="ctr">
              <a:buFont typeface="Arial" panose="020B0604020202020204" pitchFamily="34" charset="0"/>
              <a:buNone/>
              <a:defRPr/>
            </a:lvl2pPr>
            <a:lvl3pPr marL="1108344" indent="0" algn="ctr">
              <a:buFont typeface="Arial" panose="020B0604020202020204" pitchFamily="34" charset="0"/>
              <a:buNone/>
              <a:defRPr/>
            </a:lvl3pPr>
            <a:lvl4pPr marL="1662516" indent="0" algn="ctr">
              <a:buFont typeface="Arial" panose="020B0604020202020204" pitchFamily="34" charset="0"/>
              <a:buNone/>
              <a:defRPr/>
            </a:lvl4pPr>
            <a:lvl5pPr marL="2216688" indent="0" algn="ct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20847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 (Tagline) Video">
  <p:cSld name="Title and Content (Tagline) Video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9"/>
          <p:cNvSpPr txBox="1">
            <a:spLocks noGrp="1"/>
          </p:cNvSpPr>
          <p:nvPr>
            <p:ph type="title"/>
          </p:nvPr>
        </p:nvSpPr>
        <p:spPr>
          <a:xfrm>
            <a:off x="838199" y="804254"/>
            <a:ext cx="749808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4000"/>
              <a:buFont typeface="Open Sans SemiBold"/>
              <a:buNone/>
              <a:defRPr sz="4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9"/>
          <p:cNvSpPr txBox="1">
            <a:spLocks noGrp="1"/>
          </p:cNvSpPr>
          <p:nvPr>
            <p:ph type="body" idx="1"/>
          </p:nvPr>
        </p:nvSpPr>
        <p:spPr>
          <a:xfrm>
            <a:off x="838200" y="2364259"/>
            <a:ext cx="10515600" cy="3846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" name="Google Shape;31;p9"/>
          <p:cNvSpPr/>
          <p:nvPr/>
        </p:nvSpPr>
        <p:spPr>
          <a:xfrm>
            <a:off x="8444174" y="635714"/>
            <a:ext cx="2909626" cy="166264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ub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6861F-C003-425C-8CAF-D280008AE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6320" y="365125"/>
            <a:ext cx="1127936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FF570B6-A5C2-46AE-80B3-3C39551B6624}"/>
              </a:ext>
            </a:extLst>
          </p:cNvPr>
          <p:cNvSpPr/>
          <p:nvPr userDrawn="1"/>
        </p:nvSpPr>
        <p:spPr>
          <a:xfrm>
            <a:off x="2169741" y="1809751"/>
            <a:ext cx="2123589" cy="2189951"/>
          </a:xfrm>
          <a:prstGeom prst="ellipse">
            <a:avLst/>
          </a:prstGeom>
          <a:solidFill>
            <a:schemeClr val="bg1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F6FF8A0-C34C-4F20-9CA4-E115C7681BBB}"/>
              </a:ext>
            </a:extLst>
          </p:cNvPr>
          <p:cNvSpPr/>
          <p:nvPr userDrawn="1"/>
        </p:nvSpPr>
        <p:spPr>
          <a:xfrm>
            <a:off x="2337285" y="1982531"/>
            <a:ext cx="1788501" cy="1844391"/>
          </a:xfrm>
          <a:prstGeom prst="ellipse">
            <a:avLst/>
          </a:prstGeom>
          <a:solidFill>
            <a:srgbClr val="D7D8D6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17411AEF-7ED1-46BD-AE1C-8F2CB6427244}"/>
              </a:ext>
            </a:extLst>
          </p:cNvPr>
          <p:cNvSpPr/>
          <p:nvPr userDrawn="1"/>
        </p:nvSpPr>
        <p:spPr>
          <a:xfrm>
            <a:off x="7902810" y="1775938"/>
            <a:ext cx="2123589" cy="2189951"/>
          </a:xfrm>
          <a:prstGeom prst="ellipse">
            <a:avLst/>
          </a:prstGeom>
          <a:solidFill>
            <a:schemeClr val="bg1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944B7415-223E-4B8A-80D0-FF738C852908}"/>
              </a:ext>
            </a:extLst>
          </p:cNvPr>
          <p:cNvSpPr/>
          <p:nvPr userDrawn="1"/>
        </p:nvSpPr>
        <p:spPr>
          <a:xfrm>
            <a:off x="8070354" y="1948718"/>
            <a:ext cx="1788501" cy="1844391"/>
          </a:xfrm>
          <a:prstGeom prst="ellipse">
            <a:avLst/>
          </a:prstGeom>
          <a:solidFill>
            <a:srgbClr val="D7D8D6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06184E0-E19C-4281-8303-DAD2833F20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1156" y="4157266"/>
            <a:ext cx="5552480" cy="2025908"/>
          </a:xfrm>
        </p:spPr>
        <p:txBody>
          <a:bodyPr anchor="ctr"/>
          <a:lstStyle>
            <a:lvl1pPr algn="ctr">
              <a:defRPr/>
            </a:lvl1pPr>
            <a:lvl2pPr marL="761987" indent="-207815" algn="ctr">
              <a:buFont typeface="Arial" panose="020B0604020202020204" pitchFamily="34" charset="0"/>
              <a:buChar char="•"/>
              <a:defRPr/>
            </a:lvl2pPr>
            <a:lvl3pPr marL="1316159" indent="-207815" algn="ctr">
              <a:buFont typeface="Arial" panose="020B0604020202020204" pitchFamily="34" charset="0"/>
              <a:buChar char="•"/>
              <a:defRPr/>
            </a:lvl3pPr>
            <a:lvl4pPr marL="1870331" indent="-207815" algn="ctr">
              <a:buFont typeface="Arial" panose="020B0604020202020204" pitchFamily="34" charset="0"/>
              <a:buChar char="•"/>
              <a:defRPr/>
            </a:lvl4pPr>
            <a:lvl5pPr marL="2424503" indent="-207815" algn="ctr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9ED6D49C-7CAA-46A4-83C5-866B0993542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02879" y="4146567"/>
            <a:ext cx="5552480" cy="2036606"/>
          </a:xfrm>
        </p:spPr>
        <p:txBody>
          <a:bodyPr anchor="ctr"/>
          <a:lstStyle>
            <a:lvl1pPr algn="ctr">
              <a:defRPr/>
            </a:lvl1pPr>
            <a:lvl2pPr marL="761987" indent="-207815" algn="ctr">
              <a:buFont typeface="Arial" panose="020B0604020202020204" pitchFamily="34" charset="0"/>
              <a:buChar char="•"/>
              <a:defRPr/>
            </a:lvl2pPr>
            <a:lvl3pPr marL="1316159" indent="-207815" algn="ctr">
              <a:buFont typeface="Arial" panose="020B0604020202020204" pitchFamily="34" charset="0"/>
              <a:buChar char="•"/>
              <a:defRPr/>
            </a:lvl3pPr>
            <a:lvl4pPr marL="1870331" indent="-207815" algn="ctr">
              <a:buFont typeface="Arial" panose="020B0604020202020204" pitchFamily="34" charset="0"/>
              <a:buChar char="•"/>
              <a:defRPr/>
            </a:lvl4pPr>
            <a:lvl5pPr marL="2424503" indent="-207815" algn="ctr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D096F0F-A8C1-4570-ADFE-73CB29E64C4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456321" y="6355954"/>
            <a:ext cx="411403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err="1"/>
              <a:t>Avēsis</a:t>
            </a:r>
            <a:r>
              <a:rPr lang="en-US" dirty="0"/>
              <a:t> | SDL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C27F95-8A6D-4869-857A-D1D0D0CFA3D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8993636" y="6355954"/>
            <a:ext cx="2742045" cy="365125"/>
          </a:xfrm>
          <a:prstGeom prst="rect">
            <a:avLst/>
          </a:prstGeom>
        </p:spPr>
        <p:txBody>
          <a:bodyPr/>
          <a:lstStyle/>
          <a:p>
            <a:fld id="{FC3CC161-539E-43A5-8E1F-879DEB8E4EA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373122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ub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6861F-C003-425C-8CAF-D280008AE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6320" y="365125"/>
            <a:ext cx="1127936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FF570B6-A5C2-46AE-80B3-3C39551B6624}"/>
              </a:ext>
            </a:extLst>
          </p:cNvPr>
          <p:cNvSpPr/>
          <p:nvPr userDrawn="1"/>
        </p:nvSpPr>
        <p:spPr>
          <a:xfrm>
            <a:off x="1087622" y="1809751"/>
            <a:ext cx="2123589" cy="2189951"/>
          </a:xfrm>
          <a:prstGeom prst="ellipse">
            <a:avLst/>
          </a:prstGeom>
          <a:solidFill>
            <a:schemeClr val="bg1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F6FF8A0-C34C-4F20-9CA4-E115C7681BBB}"/>
              </a:ext>
            </a:extLst>
          </p:cNvPr>
          <p:cNvSpPr/>
          <p:nvPr userDrawn="1"/>
        </p:nvSpPr>
        <p:spPr>
          <a:xfrm>
            <a:off x="1255166" y="1982531"/>
            <a:ext cx="1788501" cy="1844391"/>
          </a:xfrm>
          <a:prstGeom prst="ellipse">
            <a:avLst/>
          </a:prstGeom>
          <a:solidFill>
            <a:srgbClr val="D7D8D6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2C9DFD0C-8BE1-486A-8D3F-A1B020C24733}"/>
              </a:ext>
            </a:extLst>
          </p:cNvPr>
          <p:cNvSpPr/>
          <p:nvPr userDrawn="1"/>
        </p:nvSpPr>
        <p:spPr>
          <a:xfrm>
            <a:off x="5034207" y="1775938"/>
            <a:ext cx="2123589" cy="2189951"/>
          </a:xfrm>
          <a:prstGeom prst="ellipse">
            <a:avLst/>
          </a:prstGeom>
          <a:solidFill>
            <a:schemeClr val="bg1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91CB465-0549-41D1-89E5-74BEF9F7DDC3}"/>
              </a:ext>
            </a:extLst>
          </p:cNvPr>
          <p:cNvSpPr/>
          <p:nvPr userDrawn="1"/>
        </p:nvSpPr>
        <p:spPr>
          <a:xfrm>
            <a:off x="5201751" y="1948718"/>
            <a:ext cx="1788501" cy="1844391"/>
          </a:xfrm>
          <a:prstGeom prst="ellipse">
            <a:avLst/>
          </a:prstGeom>
          <a:solidFill>
            <a:srgbClr val="D7D8D6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17411AEF-7ED1-46BD-AE1C-8F2CB6427244}"/>
              </a:ext>
            </a:extLst>
          </p:cNvPr>
          <p:cNvSpPr/>
          <p:nvPr userDrawn="1"/>
        </p:nvSpPr>
        <p:spPr>
          <a:xfrm>
            <a:off x="8989067" y="1775938"/>
            <a:ext cx="2123589" cy="2189951"/>
          </a:xfrm>
          <a:prstGeom prst="ellipse">
            <a:avLst/>
          </a:prstGeom>
          <a:solidFill>
            <a:schemeClr val="bg1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944B7415-223E-4B8A-80D0-FF738C852908}"/>
              </a:ext>
            </a:extLst>
          </p:cNvPr>
          <p:cNvSpPr/>
          <p:nvPr userDrawn="1"/>
        </p:nvSpPr>
        <p:spPr>
          <a:xfrm>
            <a:off x="9156611" y="1948718"/>
            <a:ext cx="1788501" cy="1844391"/>
          </a:xfrm>
          <a:prstGeom prst="ellipse">
            <a:avLst/>
          </a:prstGeom>
          <a:solidFill>
            <a:srgbClr val="D7D8D6"/>
          </a:solidFill>
          <a:ln>
            <a:solidFill>
              <a:srgbClr val="D7D8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97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C5163DB-1618-473C-96AC-74E95677B81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1156" y="4138668"/>
            <a:ext cx="3379966" cy="2044504"/>
          </a:xfrm>
        </p:spPr>
        <p:txBody>
          <a:bodyPr anchor="ctr"/>
          <a:lstStyle>
            <a:lvl1pPr algn="ctr">
              <a:defRPr/>
            </a:lvl1pPr>
            <a:lvl2pPr marL="761987" indent="-207815" algn="ctr">
              <a:buFont typeface="Arial" panose="020B0604020202020204" pitchFamily="34" charset="0"/>
              <a:buChar char="•"/>
              <a:defRPr/>
            </a:lvl2pPr>
            <a:lvl3pPr marL="1316159" indent="-207815" algn="ctr">
              <a:buFont typeface="Arial" panose="020B0604020202020204" pitchFamily="34" charset="0"/>
              <a:buChar char="•"/>
              <a:defRPr/>
            </a:lvl3pPr>
            <a:lvl4pPr marL="1870331" indent="-207815" algn="ctr">
              <a:buFont typeface="Arial" panose="020B0604020202020204" pitchFamily="34" charset="0"/>
              <a:buChar char="•"/>
              <a:defRPr/>
            </a:lvl4pPr>
            <a:lvl5pPr marL="2424503" indent="-207815" algn="ctr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A07D20B2-EDC7-400E-B59B-22C4E230EF2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01535" y="4138669"/>
            <a:ext cx="3379966" cy="2044505"/>
          </a:xfrm>
        </p:spPr>
        <p:txBody>
          <a:bodyPr anchor="ctr"/>
          <a:lstStyle>
            <a:lvl1pPr algn="ctr">
              <a:defRPr/>
            </a:lvl1pPr>
            <a:lvl2pPr marL="761987" indent="-207815" algn="ctr">
              <a:buFont typeface="Arial" panose="020B0604020202020204" pitchFamily="34" charset="0"/>
              <a:buChar char="•"/>
              <a:defRPr/>
            </a:lvl2pPr>
            <a:lvl3pPr marL="1316159" indent="-207815" algn="ctr">
              <a:buFont typeface="Arial" panose="020B0604020202020204" pitchFamily="34" charset="0"/>
              <a:buChar char="•"/>
              <a:defRPr/>
            </a:lvl3pPr>
            <a:lvl4pPr marL="1870331" indent="-207815" algn="ctr">
              <a:buFont typeface="Arial" panose="020B0604020202020204" pitchFamily="34" charset="0"/>
              <a:buChar char="•"/>
              <a:defRPr/>
            </a:lvl4pPr>
            <a:lvl5pPr marL="2424503" indent="-207815" algn="ctr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9" name="Text Placeholder 5">
            <a:extLst>
              <a:ext uri="{FF2B5EF4-FFF2-40B4-BE49-F238E27FC236}">
                <a16:creationId xmlns:a16="http://schemas.microsoft.com/office/drawing/2014/main" id="{D47F38A6-9605-43D0-A832-7AE61B0C62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43636" y="4138669"/>
            <a:ext cx="3379966" cy="2044503"/>
          </a:xfrm>
        </p:spPr>
        <p:txBody>
          <a:bodyPr anchor="ctr"/>
          <a:lstStyle>
            <a:lvl1pPr algn="ctr">
              <a:defRPr/>
            </a:lvl1pPr>
            <a:lvl2pPr marL="761987" indent="-207815" algn="ctr">
              <a:buFont typeface="Arial" panose="020B0604020202020204" pitchFamily="34" charset="0"/>
              <a:buChar char="•"/>
              <a:defRPr/>
            </a:lvl2pPr>
            <a:lvl3pPr marL="1316159" indent="-207815" algn="ctr">
              <a:buFont typeface="Arial" panose="020B0604020202020204" pitchFamily="34" charset="0"/>
              <a:buChar char="•"/>
              <a:defRPr/>
            </a:lvl3pPr>
            <a:lvl4pPr marL="1870331" indent="-207815" algn="ctr">
              <a:buFont typeface="Arial" panose="020B0604020202020204" pitchFamily="34" charset="0"/>
              <a:buChar char="•"/>
              <a:defRPr/>
            </a:lvl4pPr>
            <a:lvl5pPr marL="2424503" indent="-207815" algn="ctr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81267E2-6A59-42CC-8D2E-0E53F9A158D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56321" y="6355954"/>
            <a:ext cx="411403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err="1"/>
              <a:t>Avēsis</a:t>
            </a:r>
            <a:r>
              <a:rPr lang="en-US" dirty="0"/>
              <a:t> | SDL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6DC8C7-BD5F-4E96-8DE4-1FA48EA8E8C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8993636" y="6355954"/>
            <a:ext cx="2742045" cy="365125"/>
          </a:xfrm>
          <a:prstGeom prst="rect">
            <a:avLst/>
          </a:prstGeom>
        </p:spPr>
        <p:txBody>
          <a:bodyPr/>
          <a:lstStyle/>
          <a:p>
            <a:fld id="{FC3CC161-539E-43A5-8E1F-879DEB8E4EA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962773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id="{C9855669-25C9-447D-9E3F-C4CB81AEA886}"/>
              </a:ext>
            </a:extLst>
          </p:cNvPr>
          <p:cNvSpPr/>
          <p:nvPr userDrawn="1"/>
        </p:nvSpPr>
        <p:spPr>
          <a:xfrm rot="5400000">
            <a:off x="2355235" y="2295070"/>
            <a:ext cx="1752600" cy="5554970"/>
          </a:xfrm>
          <a:prstGeom prst="rect">
            <a:avLst/>
          </a:prstGeom>
          <a:solidFill>
            <a:schemeClr val="bg1"/>
          </a:solidFill>
          <a:ln w="25400" cap="rnd" cmpd="sng">
            <a:solidFill>
              <a:srgbClr val="D7D8D6"/>
            </a:solidFill>
            <a:prstDash val="sys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26861F-C003-425C-8CAF-D280008AE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6320" y="365125"/>
            <a:ext cx="1127936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565001DE-A361-4FE0-ABDF-0FC3A0361477}"/>
              </a:ext>
            </a:extLst>
          </p:cNvPr>
          <p:cNvSpPr/>
          <p:nvPr userDrawn="1"/>
        </p:nvSpPr>
        <p:spPr>
          <a:xfrm>
            <a:off x="1281824" y="5684543"/>
            <a:ext cx="3899421" cy="510316"/>
          </a:xfrm>
          <a:prstGeom prst="roundRect">
            <a:avLst/>
          </a:prstGeom>
          <a:solidFill>
            <a:srgbClr val="63666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F45B34A5-D1AB-4248-BE9C-DD9D1C6945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81824" y="5684543"/>
            <a:ext cx="3899421" cy="510316"/>
          </a:xfrm>
        </p:spPr>
        <p:txBody>
          <a:bodyPr anchor="ctr">
            <a:noAutofit/>
          </a:bodyPr>
          <a:lstStyle>
            <a:lvl1pPr marL="0" indent="0" algn="ctr">
              <a:buNone/>
              <a:defRPr sz="1939" b="1">
                <a:solidFill>
                  <a:schemeClr val="bg1"/>
                </a:solidFill>
              </a:defRPr>
            </a:lvl1pPr>
            <a:lvl2pPr marL="554172" indent="0">
              <a:buNone/>
              <a:defRPr sz="2424" b="1"/>
            </a:lvl2pPr>
            <a:lvl3pPr marL="1108344" indent="0">
              <a:buNone/>
              <a:defRPr sz="2182" b="1"/>
            </a:lvl3pPr>
            <a:lvl4pPr marL="1662516" indent="0">
              <a:buNone/>
              <a:defRPr sz="1939" b="1"/>
            </a:lvl4pPr>
            <a:lvl5pPr marL="2216688" indent="0">
              <a:buNone/>
              <a:defRPr sz="1939" b="1"/>
            </a:lvl5pPr>
            <a:lvl6pPr marL="2770861" indent="0">
              <a:buNone/>
              <a:defRPr sz="1939" b="1"/>
            </a:lvl6pPr>
            <a:lvl7pPr marL="3325033" indent="0">
              <a:buNone/>
              <a:defRPr sz="1939" b="1"/>
            </a:lvl7pPr>
            <a:lvl8pPr marL="3879205" indent="0">
              <a:buNone/>
              <a:defRPr sz="1939" b="1"/>
            </a:lvl8pPr>
            <a:lvl9pPr marL="4433377" indent="0">
              <a:buNone/>
              <a:defRPr sz="1939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23F92D1F-92F9-4BAC-8AB8-F0EEC53B4D1C}"/>
              </a:ext>
            </a:extLst>
          </p:cNvPr>
          <p:cNvSpPr/>
          <p:nvPr userDrawn="1"/>
        </p:nvSpPr>
        <p:spPr>
          <a:xfrm rot="5400000">
            <a:off x="8084168" y="2295070"/>
            <a:ext cx="1752600" cy="5554970"/>
          </a:xfrm>
          <a:prstGeom prst="rect">
            <a:avLst/>
          </a:prstGeom>
          <a:solidFill>
            <a:schemeClr val="bg1"/>
          </a:solidFill>
          <a:ln w="25400" cap="rnd" cmpd="sng">
            <a:solidFill>
              <a:srgbClr val="D7D8D6"/>
            </a:solidFill>
            <a:prstDash val="sys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D03F4AB6-6E65-409B-BA17-E9E6D74D0C0E}"/>
              </a:ext>
            </a:extLst>
          </p:cNvPr>
          <p:cNvSpPr/>
          <p:nvPr userDrawn="1"/>
        </p:nvSpPr>
        <p:spPr>
          <a:xfrm>
            <a:off x="7010757" y="5684543"/>
            <a:ext cx="3899421" cy="510316"/>
          </a:xfrm>
          <a:prstGeom prst="roundRect">
            <a:avLst/>
          </a:prstGeom>
          <a:solidFill>
            <a:srgbClr val="63666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C520EB65-677A-408E-BCD1-8839704078F2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7010757" y="5684543"/>
            <a:ext cx="3899421" cy="510316"/>
          </a:xfrm>
        </p:spPr>
        <p:txBody>
          <a:bodyPr anchor="ctr">
            <a:noAutofit/>
          </a:bodyPr>
          <a:lstStyle>
            <a:lvl1pPr marL="0" indent="0" algn="ctr">
              <a:buNone/>
              <a:defRPr sz="1939" b="1">
                <a:solidFill>
                  <a:schemeClr val="bg1"/>
                </a:solidFill>
              </a:defRPr>
            </a:lvl1pPr>
            <a:lvl2pPr marL="554172" indent="0">
              <a:buNone/>
              <a:defRPr sz="2424" b="1"/>
            </a:lvl2pPr>
            <a:lvl3pPr marL="1108344" indent="0">
              <a:buNone/>
              <a:defRPr sz="2182" b="1"/>
            </a:lvl3pPr>
            <a:lvl4pPr marL="1662516" indent="0">
              <a:buNone/>
              <a:defRPr sz="1939" b="1"/>
            </a:lvl4pPr>
            <a:lvl5pPr marL="2216688" indent="0">
              <a:buNone/>
              <a:defRPr sz="1939" b="1"/>
            </a:lvl5pPr>
            <a:lvl6pPr marL="2770861" indent="0">
              <a:buNone/>
              <a:defRPr sz="1939" b="1"/>
            </a:lvl6pPr>
            <a:lvl7pPr marL="3325033" indent="0">
              <a:buNone/>
              <a:defRPr sz="1939" b="1"/>
            </a:lvl7pPr>
            <a:lvl8pPr marL="3879205" indent="0">
              <a:buNone/>
              <a:defRPr sz="1939" b="1"/>
            </a:lvl8pPr>
            <a:lvl9pPr marL="4433377" indent="0">
              <a:buNone/>
              <a:defRPr sz="1939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2AB6953B-7C35-4ED1-B219-BBA8C70537C0}"/>
              </a:ext>
            </a:extLst>
          </p:cNvPr>
          <p:cNvSpPr/>
          <p:nvPr userDrawn="1"/>
        </p:nvSpPr>
        <p:spPr>
          <a:xfrm rot="5400000">
            <a:off x="2355235" y="100711"/>
            <a:ext cx="1752600" cy="5554970"/>
          </a:xfrm>
          <a:prstGeom prst="rect">
            <a:avLst/>
          </a:prstGeom>
          <a:solidFill>
            <a:schemeClr val="bg1"/>
          </a:solidFill>
          <a:ln w="25400" cap="rnd" cmpd="sng">
            <a:solidFill>
              <a:srgbClr val="D7D8D6"/>
            </a:solidFill>
            <a:prstDash val="sys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6AA03E35-2307-4DF0-87AF-2E231CCBCC4C}"/>
              </a:ext>
            </a:extLst>
          </p:cNvPr>
          <p:cNvSpPr/>
          <p:nvPr userDrawn="1"/>
        </p:nvSpPr>
        <p:spPr>
          <a:xfrm>
            <a:off x="1281824" y="3490185"/>
            <a:ext cx="3899421" cy="510316"/>
          </a:xfrm>
          <a:prstGeom prst="roundRect">
            <a:avLst/>
          </a:prstGeom>
          <a:solidFill>
            <a:srgbClr val="63666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7F9A95C1-1ADC-499D-8B79-DB4E9B908D77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1281824" y="3490185"/>
            <a:ext cx="3899421" cy="510316"/>
          </a:xfrm>
        </p:spPr>
        <p:txBody>
          <a:bodyPr anchor="ctr">
            <a:noAutofit/>
          </a:bodyPr>
          <a:lstStyle>
            <a:lvl1pPr marL="0" indent="0" algn="ctr">
              <a:buNone/>
              <a:defRPr sz="1939" b="1">
                <a:solidFill>
                  <a:schemeClr val="bg1"/>
                </a:solidFill>
              </a:defRPr>
            </a:lvl1pPr>
            <a:lvl2pPr marL="554172" indent="0">
              <a:buNone/>
              <a:defRPr sz="2424" b="1"/>
            </a:lvl2pPr>
            <a:lvl3pPr marL="1108344" indent="0">
              <a:buNone/>
              <a:defRPr sz="2182" b="1"/>
            </a:lvl3pPr>
            <a:lvl4pPr marL="1662516" indent="0">
              <a:buNone/>
              <a:defRPr sz="1939" b="1"/>
            </a:lvl4pPr>
            <a:lvl5pPr marL="2216688" indent="0">
              <a:buNone/>
              <a:defRPr sz="1939" b="1"/>
            </a:lvl5pPr>
            <a:lvl6pPr marL="2770861" indent="0">
              <a:buNone/>
              <a:defRPr sz="1939" b="1"/>
            </a:lvl6pPr>
            <a:lvl7pPr marL="3325033" indent="0">
              <a:buNone/>
              <a:defRPr sz="1939" b="1"/>
            </a:lvl7pPr>
            <a:lvl8pPr marL="3879205" indent="0">
              <a:buNone/>
              <a:defRPr sz="1939" b="1"/>
            </a:lvl8pPr>
            <a:lvl9pPr marL="4433377" indent="0">
              <a:buNone/>
              <a:defRPr sz="1939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D5986792-DFC5-4E4F-B56A-3BDD62CA69DA}"/>
              </a:ext>
            </a:extLst>
          </p:cNvPr>
          <p:cNvSpPr/>
          <p:nvPr userDrawn="1"/>
        </p:nvSpPr>
        <p:spPr>
          <a:xfrm rot="5400000">
            <a:off x="8084168" y="100711"/>
            <a:ext cx="1752600" cy="5554970"/>
          </a:xfrm>
          <a:prstGeom prst="rect">
            <a:avLst/>
          </a:prstGeom>
          <a:solidFill>
            <a:schemeClr val="bg1"/>
          </a:solidFill>
          <a:ln w="25400" cap="rnd" cmpd="sng">
            <a:solidFill>
              <a:srgbClr val="D7D8D6"/>
            </a:solidFill>
            <a:prstDash val="sys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EFDB0EB4-458F-485B-AD31-1E4E21423BDD}"/>
              </a:ext>
            </a:extLst>
          </p:cNvPr>
          <p:cNvSpPr/>
          <p:nvPr userDrawn="1"/>
        </p:nvSpPr>
        <p:spPr>
          <a:xfrm>
            <a:off x="7010757" y="3490185"/>
            <a:ext cx="3899421" cy="510316"/>
          </a:xfrm>
          <a:prstGeom prst="roundRect">
            <a:avLst/>
          </a:prstGeom>
          <a:solidFill>
            <a:srgbClr val="63666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49ECDD9A-FD30-46C0-B41C-2D9BFBDCD115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7010757" y="3490185"/>
            <a:ext cx="3899421" cy="510316"/>
          </a:xfrm>
        </p:spPr>
        <p:txBody>
          <a:bodyPr anchor="ctr">
            <a:noAutofit/>
          </a:bodyPr>
          <a:lstStyle>
            <a:lvl1pPr marL="0" indent="0" algn="ctr">
              <a:buNone/>
              <a:defRPr sz="1939" b="1">
                <a:solidFill>
                  <a:schemeClr val="bg1"/>
                </a:solidFill>
              </a:defRPr>
            </a:lvl1pPr>
            <a:lvl2pPr marL="554172" indent="0">
              <a:buNone/>
              <a:defRPr sz="2424" b="1"/>
            </a:lvl2pPr>
            <a:lvl3pPr marL="1108344" indent="0">
              <a:buNone/>
              <a:defRPr sz="2182" b="1"/>
            </a:lvl3pPr>
            <a:lvl4pPr marL="1662516" indent="0">
              <a:buNone/>
              <a:defRPr sz="1939" b="1"/>
            </a:lvl4pPr>
            <a:lvl5pPr marL="2216688" indent="0">
              <a:buNone/>
              <a:defRPr sz="1939" b="1"/>
            </a:lvl5pPr>
            <a:lvl6pPr marL="2770861" indent="0">
              <a:buNone/>
              <a:defRPr sz="1939" b="1"/>
            </a:lvl6pPr>
            <a:lvl7pPr marL="3325033" indent="0">
              <a:buNone/>
              <a:defRPr sz="1939" b="1"/>
            </a:lvl7pPr>
            <a:lvl8pPr marL="3879205" indent="0">
              <a:buNone/>
              <a:defRPr sz="1939" b="1"/>
            </a:lvl8pPr>
            <a:lvl9pPr marL="4433377" indent="0">
              <a:buNone/>
              <a:defRPr sz="1939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8" name="Text Placeholder 5">
            <a:extLst>
              <a:ext uri="{FF2B5EF4-FFF2-40B4-BE49-F238E27FC236}">
                <a16:creationId xmlns:a16="http://schemas.microsoft.com/office/drawing/2014/main" id="{4B6EEA88-B78D-4556-9F73-6B103DF3AB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1156" y="4209122"/>
            <a:ext cx="5552480" cy="1505878"/>
          </a:xfrm>
        </p:spPr>
        <p:txBody>
          <a:bodyPr anchor="ctr"/>
          <a:lstStyle>
            <a:lvl1pPr algn="ctr">
              <a:defRPr/>
            </a:lvl1pPr>
            <a:lvl2pPr marL="761987" indent="-207815" algn="ctr">
              <a:buFont typeface="Arial" panose="020B0604020202020204" pitchFamily="34" charset="0"/>
              <a:buChar char="•"/>
              <a:defRPr/>
            </a:lvl2pPr>
            <a:lvl3pPr marL="1316159" indent="-207815" algn="ctr">
              <a:buFont typeface="Arial" panose="020B0604020202020204" pitchFamily="34" charset="0"/>
              <a:buChar char="•"/>
              <a:defRPr/>
            </a:lvl3pPr>
            <a:lvl4pPr marL="1870331" indent="-207815" algn="ctr">
              <a:buFont typeface="Arial" panose="020B0604020202020204" pitchFamily="34" charset="0"/>
              <a:buChar char="•"/>
              <a:defRPr/>
            </a:lvl4pPr>
            <a:lvl5pPr marL="2424503" indent="-207815" algn="ctr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9" name="Text Placeholder 5">
            <a:extLst>
              <a:ext uri="{FF2B5EF4-FFF2-40B4-BE49-F238E27FC236}">
                <a16:creationId xmlns:a16="http://schemas.microsoft.com/office/drawing/2014/main" id="{FAC0F8A8-AC45-4BB9-AAC6-BE1F055F28A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02879" y="4198424"/>
            <a:ext cx="5552480" cy="1505878"/>
          </a:xfrm>
        </p:spPr>
        <p:txBody>
          <a:bodyPr anchor="ctr"/>
          <a:lstStyle>
            <a:lvl1pPr algn="ctr">
              <a:defRPr/>
            </a:lvl1pPr>
            <a:lvl2pPr marL="761987" indent="-207815" algn="ctr">
              <a:buFont typeface="Arial" panose="020B0604020202020204" pitchFamily="34" charset="0"/>
              <a:buChar char="•"/>
              <a:defRPr/>
            </a:lvl2pPr>
            <a:lvl3pPr marL="1316159" indent="-207815" algn="ctr">
              <a:buFont typeface="Arial" panose="020B0604020202020204" pitchFamily="34" charset="0"/>
              <a:buChar char="•"/>
              <a:defRPr/>
            </a:lvl3pPr>
            <a:lvl4pPr marL="1870331" indent="-207815" algn="ctr">
              <a:buFont typeface="Arial" panose="020B0604020202020204" pitchFamily="34" charset="0"/>
              <a:buChar char="•"/>
              <a:defRPr/>
            </a:lvl4pPr>
            <a:lvl5pPr marL="2424503" indent="-207815" algn="ctr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0" name="Text Placeholder 5">
            <a:extLst>
              <a:ext uri="{FF2B5EF4-FFF2-40B4-BE49-F238E27FC236}">
                <a16:creationId xmlns:a16="http://schemas.microsoft.com/office/drawing/2014/main" id="{89DCFB9E-CB18-4FA3-A060-BE3DD0CB41F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51156" y="2018372"/>
            <a:ext cx="5552480" cy="1505878"/>
          </a:xfrm>
        </p:spPr>
        <p:txBody>
          <a:bodyPr anchor="ctr"/>
          <a:lstStyle>
            <a:lvl1pPr algn="ctr">
              <a:defRPr/>
            </a:lvl1pPr>
            <a:lvl2pPr marL="761987" indent="-207815" algn="ctr">
              <a:buFont typeface="Arial" panose="020B0604020202020204" pitchFamily="34" charset="0"/>
              <a:buChar char="•"/>
              <a:defRPr/>
            </a:lvl2pPr>
            <a:lvl3pPr marL="1316159" indent="-207815" algn="ctr">
              <a:buFont typeface="Arial" panose="020B0604020202020204" pitchFamily="34" charset="0"/>
              <a:buChar char="•"/>
              <a:defRPr/>
            </a:lvl3pPr>
            <a:lvl4pPr marL="1870331" indent="-207815" algn="ctr">
              <a:buFont typeface="Arial" panose="020B0604020202020204" pitchFamily="34" charset="0"/>
              <a:buChar char="•"/>
              <a:defRPr/>
            </a:lvl4pPr>
            <a:lvl5pPr marL="2424503" indent="-207815" algn="ctr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1" name="Text Placeholder 5">
            <a:extLst>
              <a:ext uri="{FF2B5EF4-FFF2-40B4-BE49-F238E27FC236}">
                <a16:creationId xmlns:a16="http://schemas.microsoft.com/office/drawing/2014/main" id="{13214774-99BE-49AC-B71C-F2D4BA30251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02879" y="2007674"/>
            <a:ext cx="5552480" cy="1505878"/>
          </a:xfrm>
        </p:spPr>
        <p:txBody>
          <a:bodyPr anchor="ctr"/>
          <a:lstStyle>
            <a:lvl1pPr algn="ctr">
              <a:defRPr/>
            </a:lvl1pPr>
            <a:lvl2pPr marL="761987" indent="-207815" algn="ctr">
              <a:buFont typeface="Arial" panose="020B0604020202020204" pitchFamily="34" charset="0"/>
              <a:buChar char="•"/>
              <a:defRPr/>
            </a:lvl2pPr>
            <a:lvl3pPr marL="1316159" indent="-207815" algn="ctr">
              <a:buFont typeface="Arial" panose="020B0604020202020204" pitchFamily="34" charset="0"/>
              <a:buChar char="•"/>
              <a:defRPr/>
            </a:lvl3pPr>
            <a:lvl4pPr marL="1870331" indent="-207815" algn="ctr">
              <a:buFont typeface="Arial" panose="020B0604020202020204" pitchFamily="34" charset="0"/>
              <a:buChar char="•"/>
              <a:defRPr/>
            </a:lvl4pPr>
            <a:lvl5pPr marL="2424503" indent="-207815" algn="ctr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F586047-DE61-48ED-B246-28D8409207A9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>
          <a:xfrm>
            <a:off x="456321" y="6355954"/>
            <a:ext cx="411403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err="1"/>
              <a:t>Avēsis</a:t>
            </a:r>
            <a:r>
              <a:rPr lang="en-US" dirty="0"/>
              <a:t> | SDL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258D54-AE64-409E-B1A9-3F84826E8DAD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>
          <a:xfrm>
            <a:off x="8993636" y="6355954"/>
            <a:ext cx="2742045" cy="365125"/>
          </a:xfrm>
          <a:prstGeom prst="rect">
            <a:avLst/>
          </a:prstGeom>
        </p:spPr>
        <p:txBody>
          <a:bodyPr/>
          <a:lstStyle/>
          <a:p>
            <a:fld id="{FC3CC161-539E-43A5-8E1F-879DEB8E4EA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074012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164F5CA9-0E40-4B61-A315-ED8A94EDC273}"/>
              </a:ext>
            </a:extLst>
          </p:cNvPr>
          <p:cNvSpPr/>
          <p:nvPr userDrawn="1"/>
        </p:nvSpPr>
        <p:spPr>
          <a:xfrm rot="5400000">
            <a:off x="1258769" y="1105536"/>
            <a:ext cx="1752600" cy="3362039"/>
          </a:xfrm>
          <a:prstGeom prst="rect">
            <a:avLst/>
          </a:prstGeom>
          <a:solidFill>
            <a:schemeClr val="bg1"/>
          </a:solidFill>
          <a:ln w="25400" cap="rnd" cmpd="sng">
            <a:solidFill>
              <a:srgbClr val="D7D8D6"/>
            </a:solidFill>
            <a:prstDash val="sys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1CE4CB4-FF05-46B7-85FC-B899C5FB0719}"/>
              </a:ext>
            </a:extLst>
          </p:cNvPr>
          <p:cNvSpPr/>
          <p:nvPr userDrawn="1"/>
        </p:nvSpPr>
        <p:spPr>
          <a:xfrm rot="5400000">
            <a:off x="5201773" y="1113603"/>
            <a:ext cx="1752600" cy="3362039"/>
          </a:xfrm>
          <a:prstGeom prst="rect">
            <a:avLst/>
          </a:prstGeom>
          <a:solidFill>
            <a:schemeClr val="bg1"/>
          </a:solidFill>
          <a:ln w="25400" cap="rnd" cmpd="sng">
            <a:solidFill>
              <a:srgbClr val="D7D8D6"/>
            </a:solidFill>
            <a:prstDash val="sys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EB1B6C79-9F2D-4738-B166-FE60CA402C38}"/>
              </a:ext>
            </a:extLst>
          </p:cNvPr>
          <p:cNvSpPr/>
          <p:nvPr userDrawn="1"/>
        </p:nvSpPr>
        <p:spPr>
          <a:xfrm rot="5400000">
            <a:off x="9155864" y="1121982"/>
            <a:ext cx="1752600" cy="3362039"/>
          </a:xfrm>
          <a:prstGeom prst="rect">
            <a:avLst/>
          </a:prstGeom>
          <a:solidFill>
            <a:schemeClr val="bg1"/>
          </a:solidFill>
          <a:ln w="25400" cap="rnd" cmpd="sng">
            <a:solidFill>
              <a:srgbClr val="D7D8D6"/>
            </a:solidFill>
            <a:prstDash val="sys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BD2F4C12-C836-4AAA-B4C6-E16817E24F4D}"/>
              </a:ext>
            </a:extLst>
          </p:cNvPr>
          <p:cNvSpPr/>
          <p:nvPr userDrawn="1"/>
        </p:nvSpPr>
        <p:spPr>
          <a:xfrm>
            <a:off x="827610" y="3390976"/>
            <a:ext cx="2614919" cy="510316"/>
          </a:xfrm>
          <a:prstGeom prst="roundRect">
            <a:avLst/>
          </a:prstGeom>
          <a:solidFill>
            <a:srgbClr val="63666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72E13E4C-9D22-41F6-BE65-A1214C903571}"/>
              </a:ext>
            </a:extLst>
          </p:cNvPr>
          <p:cNvSpPr/>
          <p:nvPr userDrawn="1"/>
        </p:nvSpPr>
        <p:spPr>
          <a:xfrm>
            <a:off x="4770613" y="3390976"/>
            <a:ext cx="2614919" cy="510316"/>
          </a:xfrm>
          <a:prstGeom prst="roundRect">
            <a:avLst/>
          </a:prstGeom>
          <a:solidFill>
            <a:srgbClr val="63666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A5FD96E6-3A3F-47F6-BE33-559ADA630ECE}"/>
              </a:ext>
            </a:extLst>
          </p:cNvPr>
          <p:cNvSpPr/>
          <p:nvPr userDrawn="1"/>
        </p:nvSpPr>
        <p:spPr>
          <a:xfrm>
            <a:off x="8724704" y="3390976"/>
            <a:ext cx="2614919" cy="510316"/>
          </a:xfrm>
          <a:prstGeom prst="roundRect">
            <a:avLst/>
          </a:prstGeom>
          <a:solidFill>
            <a:srgbClr val="63666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C9855669-25C9-447D-9E3F-C4CB81AEA886}"/>
              </a:ext>
            </a:extLst>
          </p:cNvPr>
          <p:cNvSpPr/>
          <p:nvPr userDrawn="1"/>
        </p:nvSpPr>
        <p:spPr>
          <a:xfrm rot="5400000">
            <a:off x="1258769" y="3391536"/>
            <a:ext cx="1752600" cy="3362039"/>
          </a:xfrm>
          <a:prstGeom prst="rect">
            <a:avLst/>
          </a:prstGeom>
          <a:solidFill>
            <a:schemeClr val="bg1"/>
          </a:solidFill>
          <a:ln w="25400" cap="rnd" cmpd="sng">
            <a:solidFill>
              <a:srgbClr val="D7D8D6"/>
            </a:solidFill>
            <a:prstDash val="sys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BC56142E-4B2C-4677-990E-720AE8F18778}"/>
              </a:ext>
            </a:extLst>
          </p:cNvPr>
          <p:cNvSpPr/>
          <p:nvPr userDrawn="1"/>
        </p:nvSpPr>
        <p:spPr>
          <a:xfrm rot="5400000">
            <a:off x="5201773" y="3399603"/>
            <a:ext cx="1752600" cy="3362039"/>
          </a:xfrm>
          <a:prstGeom prst="rect">
            <a:avLst/>
          </a:prstGeom>
          <a:solidFill>
            <a:schemeClr val="bg1"/>
          </a:solidFill>
          <a:ln w="25400" cap="rnd" cmpd="sng">
            <a:solidFill>
              <a:srgbClr val="D7D8D6"/>
            </a:solidFill>
            <a:prstDash val="sys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8E80A621-53C7-44E9-81C5-826930D02348}"/>
              </a:ext>
            </a:extLst>
          </p:cNvPr>
          <p:cNvSpPr/>
          <p:nvPr userDrawn="1"/>
        </p:nvSpPr>
        <p:spPr>
          <a:xfrm rot="5400000">
            <a:off x="9155864" y="3407982"/>
            <a:ext cx="1752600" cy="3362039"/>
          </a:xfrm>
          <a:prstGeom prst="rect">
            <a:avLst/>
          </a:prstGeom>
          <a:solidFill>
            <a:schemeClr val="bg1"/>
          </a:solidFill>
          <a:ln w="25400" cap="rnd" cmpd="sng">
            <a:solidFill>
              <a:srgbClr val="D7D8D6"/>
            </a:solidFill>
            <a:prstDash val="sys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5EA32648-6CC5-4577-986B-1BD15E7670E8}"/>
              </a:ext>
            </a:extLst>
          </p:cNvPr>
          <p:cNvSpPr/>
          <p:nvPr userDrawn="1"/>
        </p:nvSpPr>
        <p:spPr>
          <a:xfrm>
            <a:off x="827610" y="5673030"/>
            <a:ext cx="2614919" cy="510316"/>
          </a:xfrm>
          <a:prstGeom prst="roundRect">
            <a:avLst/>
          </a:prstGeom>
          <a:solidFill>
            <a:srgbClr val="63666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B0950365-B60A-42C5-AF5E-27A8894DA258}"/>
              </a:ext>
            </a:extLst>
          </p:cNvPr>
          <p:cNvSpPr/>
          <p:nvPr userDrawn="1"/>
        </p:nvSpPr>
        <p:spPr>
          <a:xfrm>
            <a:off x="4770613" y="5673030"/>
            <a:ext cx="2614919" cy="510316"/>
          </a:xfrm>
          <a:prstGeom prst="roundRect">
            <a:avLst/>
          </a:prstGeom>
          <a:solidFill>
            <a:srgbClr val="63666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0FA16F89-A2FC-4F68-99D9-EC474BEDE43C}"/>
              </a:ext>
            </a:extLst>
          </p:cNvPr>
          <p:cNvSpPr/>
          <p:nvPr userDrawn="1"/>
        </p:nvSpPr>
        <p:spPr>
          <a:xfrm>
            <a:off x="8724704" y="5673030"/>
            <a:ext cx="2614919" cy="510316"/>
          </a:xfrm>
          <a:prstGeom prst="roundRect">
            <a:avLst/>
          </a:prstGeom>
          <a:solidFill>
            <a:srgbClr val="63666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0836" tIns="55418" rIns="110836" bIns="554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373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26861F-C003-425C-8CAF-D280008AE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6320" y="365125"/>
            <a:ext cx="1127936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0138F609-C3CF-47B3-8563-60B23BFC74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9604" y="5673030"/>
            <a:ext cx="2610932" cy="510316"/>
          </a:xfrm>
        </p:spPr>
        <p:txBody>
          <a:bodyPr anchor="ctr">
            <a:noAutofit/>
          </a:bodyPr>
          <a:lstStyle>
            <a:lvl1pPr marL="0" indent="0" algn="ctr">
              <a:buNone/>
              <a:defRPr sz="1939" b="1">
                <a:solidFill>
                  <a:schemeClr val="bg1"/>
                </a:solidFill>
              </a:defRPr>
            </a:lvl1pPr>
            <a:lvl2pPr marL="554172" indent="0">
              <a:buNone/>
              <a:defRPr sz="2424" b="1"/>
            </a:lvl2pPr>
            <a:lvl3pPr marL="1108344" indent="0">
              <a:buNone/>
              <a:defRPr sz="2182" b="1"/>
            </a:lvl3pPr>
            <a:lvl4pPr marL="1662516" indent="0">
              <a:buNone/>
              <a:defRPr sz="1939" b="1"/>
            </a:lvl4pPr>
            <a:lvl5pPr marL="2216688" indent="0">
              <a:buNone/>
              <a:defRPr sz="1939" b="1"/>
            </a:lvl5pPr>
            <a:lvl6pPr marL="2770861" indent="0">
              <a:buNone/>
              <a:defRPr sz="1939" b="1"/>
            </a:lvl6pPr>
            <a:lvl7pPr marL="3325033" indent="0">
              <a:buNone/>
              <a:defRPr sz="1939" b="1"/>
            </a:lvl7pPr>
            <a:lvl8pPr marL="3879205" indent="0">
              <a:buNone/>
              <a:defRPr sz="1939" b="1"/>
            </a:lvl8pPr>
            <a:lvl9pPr marL="4433377" indent="0">
              <a:buNone/>
              <a:defRPr sz="1939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21CF87F9-DDA8-4D26-B726-394EBDDBA800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829604" y="3390976"/>
            <a:ext cx="2610932" cy="510316"/>
          </a:xfrm>
        </p:spPr>
        <p:txBody>
          <a:bodyPr anchor="ctr">
            <a:noAutofit/>
          </a:bodyPr>
          <a:lstStyle>
            <a:lvl1pPr marL="0" indent="0" algn="ctr">
              <a:buNone/>
              <a:defRPr sz="1939" b="1">
                <a:solidFill>
                  <a:schemeClr val="bg1"/>
                </a:solidFill>
              </a:defRPr>
            </a:lvl1pPr>
            <a:lvl2pPr marL="554172" indent="0">
              <a:buNone/>
              <a:defRPr sz="2424" b="1"/>
            </a:lvl2pPr>
            <a:lvl3pPr marL="1108344" indent="0">
              <a:buNone/>
              <a:defRPr sz="2182" b="1"/>
            </a:lvl3pPr>
            <a:lvl4pPr marL="1662516" indent="0">
              <a:buNone/>
              <a:defRPr sz="1939" b="1"/>
            </a:lvl4pPr>
            <a:lvl5pPr marL="2216688" indent="0">
              <a:buNone/>
              <a:defRPr sz="1939" b="1"/>
            </a:lvl5pPr>
            <a:lvl6pPr marL="2770861" indent="0">
              <a:buNone/>
              <a:defRPr sz="1939" b="1"/>
            </a:lvl6pPr>
            <a:lvl7pPr marL="3325033" indent="0">
              <a:buNone/>
              <a:defRPr sz="1939" b="1"/>
            </a:lvl7pPr>
            <a:lvl8pPr marL="3879205" indent="0">
              <a:buNone/>
              <a:defRPr sz="1939" b="1"/>
            </a:lvl8pPr>
            <a:lvl9pPr marL="4433377" indent="0">
              <a:buNone/>
              <a:defRPr sz="1939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7023D20E-4684-4E62-8D18-789895C9D79A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4772608" y="3390976"/>
            <a:ext cx="2610932" cy="510316"/>
          </a:xfrm>
        </p:spPr>
        <p:txBody>
          <a:bodyPr anchor="ctr">
            <a:noAutofit/>
          </a:bodyPr>
          <a:lstStyle>
            <a:lvl1pPr marL="0" indent="0" algn="ctr">
              <a:buNone/>
              <a:defRPr sz="1939" b="1">
                <a:solidFill>
                  <a:schemeClr val="bg1"/>
                </a:solidFill>
              </a:defRPr>
            </a:lvl1pPr>
            <a:lvl2pPr marL="554172" indent="0">
              <a:buNone/>
              <a:defRPr sz="2424" b="1"/>
            </a:lvl2pPr>
            <a:lvl3pPr marL="1108344" indent="0">
              <a:buNone/>
              <a:defRPr sz="2182" b="1"/>
            </a:lvl3pPr>
            <a:lvl4pPr marL="1662516" indent="0">
              <a:buNone/>
              <a:defRPr sz="1939" b="1"/>
            </a:lvl4pPr>
            <a:lvl5pPr marL="2216688" indent="0">
              <a:buNone/>
              <a:defRPr sz="1939" b="1"/>
            </a:lvl5pPr>
            <a:lvl6pPr marL="2770861" indent="0">
              <a:buNone/>
              <a:defRPr sz="1939" b="1"/>
            </a:lvl6pPr>
            <a:lvl7pPr marL="3325033" indent="0">
              <a:buNone/>
              <a:defRPr sz="1939" b="1"/>
            </a:lvl7pPr>
            <a:lvl8pPr marL="3879205" indent="0">
              <a:buNone/>
              <a:defRPr sz="1939" b="1"/>
            </a:lvl8pPr>
            <a:lvl9pPr marL="4433377" indent="0">
              <a:buNone/>
              <a:defRPr sz="1939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0B244E3F-7020-4F81-952C-43F0BEBED69D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xfrm>
            <a:off x="8726699" y="3390976"/>
            <a:ext cx="2610932" cy="510316"/>
          </a:xfrm>
        </p:spPr>
        <p:txBody>
          <a:bodyPr anchor="ctr">
            <a:noAutofit/>
          </a:bodyPr>
          <a:lstStyle>
            <a:lvl1pPr marL="0" indent="0" algn="ctr">
              <a:buNone/>
              <a:defRPr sz="1939" b="1">
                <a:solidFill>
                  <a:schemeClr val="bg1"/>
                </a:solidFill>
              </a:defRPr>
            </a:lvl1pPr>
            <a:lvl2pPr marL="554172" indent="0">
              <a:buNone/>
              <a:defRPr sz="2424" b="1"/>
            </a:lvl2pPr>
            <a:lvl3pPr marL="1108344" indent="0">
              <a:buNone/>
              <a:defRPr sz="2182" b="1"/>
            </a:lvl3pPr>
            <a:lvl4pPr marL="1662516" indent="0">
              <a:buNone/>
              <a:defRPr sz="1939" b="1"/>
            </a:lvl4pPr>
            <a:lvl5pPr marL="2216688" indent="0">
              <a:buNone/>
              <a:defRPr sz="1939" b="1"/>
            </a:lvl5pPr>
            <a:lvl6pPr marL="2770861" indent="0">
              <a:buNone/>
              <a:defRPr sz="1939" b="1"/>
            </a:lvl6pPr>
            <a:lvl7pPr marL="3325033" indent="0">
              <a:buNone/>
              <a:defRPr sz="1939" b="1"/>
            </a:lvl7pPr>
            <a:lvl8pPr marL="3879205" indent="0">
              <a:buNone/>
              <a:defRPr sz="1939" b="1"/>
            </a:lvl8pPr>
            <a:lvl9pPr marL="4433377" indent="0">
              <a:buNone/>
              <a:defRPr sz="1939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C793ED94-661F-4F3E-9642-02B3C75FB90D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4772608" y="5673030"/>
            <a:ext cx="2610932" cy="510316"/>
          </a:xfrm>
        </p:spPr>
        <p:txBody>
          <a:bodyPr anchor="ctr">
            <a:noAutofit/>
          </a:bodyPr>
          <a:lstStyle>
            <a:lvl1pPr marL="0" indent="0" algn="ctr">
              <a:buNone/>
              <a:defRPr sz="1939" b="1">
                <a:solidFill>
                  <a:schemeClr val="bg1"/>
                </a:solidFill>
              </a:defRPr>
            </a:lvl1pPr>
            <a:lvl2pPr marL="554172" indent="0">
              <a:buNone/>
              <a:defRPr sz="2424" b="1"/>
            </a:lvl2pPr>
            <a:lvl3pPr marL="1108344" indent="0">
              <a:buNone/>
              <a:defRPr sz="2182" b="1"/>
            </a:lvl3pPr>
            <a:lvl4pPr marL="1662516" indent="0">
              <a:buNone/>
              <a:defRPr sz="1939" b="1"/>
            </a:lvl4pPr>
            <a:lvl5pPr marL="2216688" indent="0">
              <a:buNone/>
              <a:defRPr sz="1939" b="1"/>
            </a:lvl5pPr>
            <a:lvl6pPr marL="2770861" indent="0">
              <a:buNone/>
              <a:defRPr sz="1939" b="1"/>
            </a:lvl6pPr>
            <a:lvl7pPr marL="3325033" indent="0">
              <a:buNone/>
              <a:defRPr sz="1939" b="1"/>
            </a:lvl7pPr>
            <a:lvl8pPr marL="3879205" indent="0">
              <a:buNone/>
              <a:defRPr sz="1939" b="1"/>
            </a:lvl8pPr>
            <a:lvl9pPr marL="4433377" indent="0">
              <a:buNone/>
              <a:defRPr sz="1939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20C7FDF5-FB19-4B13-B78D-EA8EC7D8700D}"/>
              </a:ext>
            </a:extLst>
          </p:cNvPr>
          <p:cNvSpPr>
            <a:spLocks noGrp="1"/>
          </p:cNvSpPr>
          <p:nvPr>
            <p:ph type="body" idx="24"/>
          </p:nvPr>
        </p:nvSpPr>
        <p:spPr>
          <a:xfrm>
            <a:off x="8726699" y="5673030"/>
            <a:ext cx="2610932" cy="510316"/>
          </a:xfrm>
        </p:spPr>
        <p:txBody>
          <a:bodyPr anchor="ctr">
            <a:noAutofit/>
          </a:bodyPr>
          <a:lstStyle>
            <a:lvl1pPr marL="0" indent="0" algn="ctr">
              <a:buNone/>
              <a:defRPr sz="1939" b="1">
                <a:solidFill>
                  <a:schemeClr val="bg1"/>
                </a:solidFill>
              </a:defRPr>
            </a:lvl1pPr>
            <a:lvl2pPr marL="554172" indent="0">
              <a:buNone/>
              <a:defRPr sz="2424" b="1"/>
            </a:lvl2pPr>
            <a:lvl3pPr marL="1108344" indent="0">
              <a:buNone/>
              <a:defRPr sz="2182" b="1"/>
            </a:lvl3pPr>
            <a:lvl4pPr marL="1662516" indent="0">
              <a:buNone/>
              <a:defRPr sz="1939" b="1"/>
            </a:lvl4pPr>
            <a:lvl5pPr marL="2216688" indent="0">
              <a:buNone/>
              <a:defRPr sz="1939" b="1"/>
            </a:lvl5pPr>
            <a:lvl6pPr marL="2770861" indent="0">
              <a:buNone/>
              <a:defRPr sz="1939" b="1"/>
            </a:lvl6pPr>
            <a:lvl7pPr marL="3325033" indent="0">
              <a:buNone/>
              <a:defRPr sz="1939" b="1"/>
            </a:lvl7pPr>
            <a:lvl8pPr marL="3879205" indent="0">
              <a:buNone/>
              <a:defRPr sz="1939" b="1"/>
            </a:lvl8pPr>
            <a:lvl9pPr marL="4433377" indent="0">
              <a:buNone/>
              <a:defRPr sz="1939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7" name="Text Placeholder 5">
            <a:extLst>
              <a:ext uri="{FF2B5EF4-FFF2-40B4-BE49-F238E27FC236}">
                <a16:creationId xmlns:a16="http://schemas.microsoft.com/office/drawing/2014/main" id="{1D9EE0BE-6BF1-4CD7-9C9F-66F8060430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1156" y="4209122"/>
            <a:ext cx="3379966" cy="1505878"/>
          </a:xfrm>
        </p:spPr>
        <p:txBody>
          <a:bodyPr anchor="ctr"/>
          <a:lstStyle>
            <a:lvl1pPr algn="ctr">
              <a:defRPr/>
            </a:lvl1pPr>
            <a:lvl2pPr marL="761987" indent="-207815" algn="ctr">
              <a:buFont typeface="Arial" panose="020B0604020202020204" pitchFamily="34" charset="0"/>
              <a:buChar char="•"/>
              <a:defRPr/>
            </a:lvl2pPr>
            <a:lvl3pPr marL="1316159" indent="-207815" algn="ctr">
              <a:buFont typeface="Arial" panose="020B0604020202020204" pitchFamily="34" charset="0"/>
              <a:buChar char="•"/>
              <a:defRPr/>
            </a:lvl3pPr>
            <a:lvl4pPr marL="1870331" indent="-207815" algn="ctr">
              <a:buFont typeface="Arial" panose="020B0604020202020204" pitchFamily="34" charset="0"/>
              <a:buChar char="•"/>
              <a:defRPr/>
            </a:lvl4pPr>
            <a:lvl5pPr marL="2424503" indent="-207815" algn="ctr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8" name="Text Placeholder 5">
            <a:extLst>
              <a:ext uri="{FF2B5EF4-FFF2-40B4-BE49-F238E27FC236}">
                <a16:creationId xmlns:a16="http://schemas.microsoft.com/office/drawing/2014/main" id="{A9D84F6F-512C-4639-82E1-FBC66640FAD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01535" y="4209122"/>
            <a:ext cx="3379966" cy="1505878"/>
          </a:xfrm>
        </p:spPr>
        <p:txBody>
          <a:bodyPr anchor="ctr"/>
          <a:lstStyle>
            <a:lvl1pPr algn="ctr">
              <a:defRPr/>
            </a:lvl1pPr>
            <a:lvl2pPr marL="761987" indent="-207815" algn="ctr">
              <a:buFont typeface="Arial" panose="020B0604020202020204" pitchFamily="34" charset="0"/>
              <a:buChar char="•"/>
              <a:defRPr/>
            </a:lvl2pPr>
            <a:lvl3pPr marL="1316159" indent="-207815" algn="ctr">
              <a:buFont typeface="Arial" panose="020B0604020202020204" pitchFamily="34" charset="0"/>
              <a:buChar char="•"/>
              <a:defRPr/>
            </a:lvl3pPr>
            <a:lvl4pPr marL="1870331" indent="-207815" algn="ctr">
              <a:buFont typeface="Arial" panose="020B0604020202020204" pitchFamily="34" charset="0"/>
              <a:buChar char="•"/>
              <a:defRPr/>
            </a:lvl4pPr>
            <a:lvl5pPr marL="2424503" indent="-207815" algn="ctr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9" name="Text Placeholder 5">
            <a:extLst>
              <a:ext uri="{FF2B5EF4-FFF2-40B4-BE49-F238E27FC236}">
                <a16:creationId xmlns:a16="http://schemas.microsoft.com/office/drawing/2014/main" id="{F13D0A76-00ED-4E73-8726-AD0EE3D25A1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343636" y="4209122"/>
            <a:ext cx="3379966" cy="1505878"/>
          </a:xfrm>
        </p:spPr>
        <p:txBody>
          <a:bodyPr anchor="ctr"/>
          <a:lstStyle>
            <a:lvl1pPr algn="ctr">
              <a:defRPr/>
            </a:lvl1pPr>
            <a:lvl2pPr marL="761987" indent="-207815" algn="ctr">
              <a:buFont typeface="Arial" panose="020B0604020202020204" pitchFamily="34" charset="0"/>
              <a:buChar char="•"/>
              <a:defRPr/>
            </a:lvl2pPr>
            <a:lvl3pPr marL="1316159" indent="-207815" algn="ctr">
              <a:buFont typeface="Arial" panose="020B0604020202020204" pitchFamily="34" charset="0"/>
              <a:buChar char="•"/>
              <a:defRPr/>
            </a:lvl3pPr>
            <a:lvl4pPr marL="1870331" indent="-207815" algn="ctr">
              <a:buFont typeface="Arial" panose="020B0604020202020204" pitchFamily="34" charset="0"/>
              <a:buChar char="•"/>
              <a:defRPr/>
            </a:lvl4pPr>
            <a:lvl5pPr marL="2424503" indent="-207815" algn="ctr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0" name="Text Placeholder 5">
            <a:extLst>
              <a:ext uri="{FF2B5EF4-FFF2-40B4-BE49-F238E27FC236}">
                <a16:creationId xmlns:a16="http://schemas.microsoft.com/office/drawing/2014/main" id="{106D1A9A-3D10-4E19-A471-989722B1989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51156" y="1905000"/>
            <a:ext cx="3379966" cy="1505878"/>
          </a:xfrm>
        </p:spPr>
        <p:txBody>
          <a:bodyPr anchor="ctr"/>
          <a:lstStyle>
            <a:lvl1pPr algn="ctr">
              <a:defRPr/>
            </a:lvl1pPr>
            <a:lvl2pPr marL="761987" indent="-207815" algn="ctr">
              <a:buFont typeface="Arial" panose="020B0604020202020204" pitchFamily="34" charset="0"/>
              <a:buChar char="•"/>
              <a:defRPr/>
            </a:lvl2pPr>
            <a:lvl3pPr marL="1316159" indent="-207815" algn="ctr">
              <a:buFont typeface="Arial" panose="020B0604020202020204" pitchFamily="34" charset="0"/>
              <a:buChar char="•"/>
              <a:defRPr/>
            </a:lvl3pPr>
            <a:lvl4pPr marL="1870331" indent="-207815" algn="ctr">
              <a:buFont typeface="Arial" panose="020B0604020202020204" pitchFamily="34" charset="0"/>
              <a:buChar char="•"/>
              <a:defRPr/>
            </a:lvl4pPr>
            <a:lvl5pPr marL="2424503" indent="-207815" algn="ctr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1" name="Text Placeholder 5">
            <a:extLst>
              <a:ext uri="{FF2B5EF4-FFF2-40B4-BE49-F238E27FC236}">
                <a16:creationId xmlns:a16="http://schemas.microsoft.com/office/drawing/2014/main" id="{3475B1D0-E9AC-4929-BEDC-DFFF3A12D7A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01535" y="1905000"/>
            <a:ext cx="3379966" cy="1505878"/>
          </a:xfrm>
        </p:spPr>
        <p:txBody>
          <a:bodyPr anchor="ctr"/>
          <a:lstStyle>
            <a:lvl1pPr algn="ctr">
              <a:defRPr/>
            </a:lvl1pPr>
            <a:lvl2pPr marL="761987" indent="-207815" algn="ctr">
              <a:buFont typeface="Arial" panose="020B0604020202020204" pitchFamily="34" charset="0"/>
              <a:buChar char="•"/>
              <a:defRPr/>
            </a:lvl2pPr>
            <a:lvl3pPr marL="1316159" indent="-207815" algn="ctr">
              <a:buFont typeface="Arial" panose="020B0604020202020204" pitchFamily="34" charset="0"/>
              <a:buChar char="•"/>
              <a:defRPr/>
            </a:lvl3pPr>
            <a:lvl4pPr marL="1870331" indent="-207815" algn="ctr">
              <a:buFont typeface="Arial" panose="020B0604020202020204" pitchFamily="34" charset="0"/>
              <a:buChar char="•"/>
              <a:defRPr/>
            </a:lvl4pPr>
            <a:lvl5pPr marL="2424503" indent="-207815" algn="ctr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2" name="Text Placeholder 5">
            <a:extLst>
              <a:ext uri="{FF2B5EF4-FFF2-40B4-BE49-F238E27FC236}">
                <a16:creationId xmlns:a16="http://schemas.microsoft.com/office/drawing/2014/main" id="{2EC296AD-8A5B-4DD8-8817-7ABEDDD17A6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343636" y="1905000"/>
            <a:ext cx="3379966" cy="1505878"/>
          </a:xfrm>
        </p:spPr>
        <p:txBody>
          <a:bodyPr anchor="ctr"/>
          <a:lstStyle>
            <a:lvl1pPr algn="ctr">
              <a:defRPr/>
            </a:lvl1pPr>
            <a:lvl2pPr marL="761987" indent="-207815" algn="ctr">
              <a:buFont typeface="Arial" panose="020B0604020202020204" pitchFamily="34" charset="0"/>
              <a:buChar char="•"/>
              <a:defRPr/>
            </a:lvl2pPr>
            <a:lvl3pPr marL="1316159" indent="-207815" algn="ctr">
              <a:buFont typeface="Arial" panose="020B0604020202020204" pitchFamily="34" charset="0"/>
              <a:buChar char="•"/>
              <a:defRPr/>
            </a:lvl3pPr>
            <a:lvl4pPr marL="1870331" indent="-207815" algn="ctr">
              <a:buFont typeface="Arial" panose="020B0604020202020204" pitchFamily="34" charset="0"/>
              <a:buChar char="•"/>
              <a:defRPr/>
            </a:lvl4pPr>
            <a:lvl5pPr marL="2424503" indent="-207815" algn="ctr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A577BF-3746-4D30-850E-E79F0A0F5A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>
          <a:xfrm>
            <a:off x="456321" y="6355954"/>
            <a:ext cx="411403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err="1"/>
              <a:t>Avēsis</a:t>
            </a:r>
            <a:r>
              <a:rPr lang="en-US" dirty="0"/>
              <a:t> | SDL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339FD4-AE5E-4F23-BD92-8BF18FF49630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>
          <a:xfrm>
            <a:off x="8993636" y="6355954"/>
            <a:ext cx="2742045" cy="365125"/>
          </a:xfrm>
          <a:prstGeom prst="rect">
            <a:avLst/>
          </a:prstGeom>
        </p:spPr>
        <p:txBody>
          <a:bodyPr/>
          <a:lstStyle/>
          <a:p>
            <a:fld id="{FC3CC161-539E-43A5-8E1F-879DEB8E4EA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567833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4D188F-4C13-4217-ABBA-57A5D16752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E9F5F04-0E3B-4E63-9FBF-E569F4FD8D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27" y="666750"/>
            <a:ext cx="6748044" cy="30638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9AF404B-01A6-411A-B743-CAE50778F9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1091" y="5715001"/>
            <a:ext cx="2216727" cy="681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68109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losing Slide_T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 up of a device&#10;&#10;Description generated with high confidence">
            <a:extLst>
              <a:ext uri="{FF2B5EF4-FFF2-40B4-BE49-F238E27FC236}">
                <a16:creationId xmlns:a16="http://schemas.microsoft.com/office/drawing/2014/main" id="{09B94A8A-5B7A-4DC0-A0BD-3C88C6CF50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F1383D6-4D04-4A36-975C-0C80779BE3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1091" y="5715001"/>
            <a:ext cx="2216727" cy="681169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2A8EDC4A-8097-4052-A6FD-F232825433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19636" y="1143000"/>
            <a:ext cx="4618182" cy="35242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568469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 preferRelativeResize="0"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1129" y="947484"/>
            <a:ext cx="2314409" cy="15934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4" t="25599" r="9369" b="25265"/>
          <a:stretch/>
        </p:blipFill>
        <p:spPr>
          <a:xfrm>
            <a:off x="720214" y="674176"/>
            <a:ext cx="2934117" cy="520139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6444022"/>
            <a:ext cx="7927259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/>
          </a:p>
        </p:txBody>
      </p:sp>
      <p:sp>
        <p:nvSpPr>
          <p:cNvPr id="18" name="Rectangle 17"/>
          <p:cNvSpPr/>
          <p:nvPr userDrawn="1"/>
        </p:nvSpPr>
        <p:spPr>
          <a:xfrm>
            <a:off x="7927258" y="6444022"/>
            <a:ext cx="1224117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/>
          </a:p>
        </p:txBody>
      </p:sp>
      <p:sp>
        <p:nvSpPr>
          <p:cNvPr id="19" name="Rectangle 18"/>
          <p:cNvSpPr/>
          <p:nvPr userDrawn="1"/>
        </p:nvSpPr>
        <p:spPr>
          <a:xfrm>
            <a:off x="9151373" y="6444022"/>
            <a:ext cx="2470544" cy="420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/>
          </a:p>
        </p:txBody>
      </p:sp>
      <p:sp>
        <p:nvSpPr>
          <p:cNvPr id="20" name="Rectangle 19"/>
          <p:cNvSpPr/>
          <p:nvPr userDrawn="1"/>
        </p:nvSpPr>
        <p:spPr>
          <a:xfrm>
            <a:off x="11621915" y="6444022"/>
            <a:ext cx="570085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/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644018" y="3704884"/>
            <a:ext cx="10861521" cy="774216"/>
          </a:xfr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3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4017" y="4577048"/>
            <a:ext cx="6315584" cy="325152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Presenter’s Name</a:t>
            </a:r>
          </a:p>
        </p:txBody>
      </p:sp>
      <p:sp>
        <p:nvSpPr>
          <p:cNvPr id="24" name="Content Placeholder 16"/>
          <p:cNvSpPr>
            <a:spLocks noGrp="1"/>
          </p:cNvSpPr>
          <p:nvPr>
            <p:ph sz="quarter" idx="10" hasCustomPrompt="1"/>
          </p:nvPr>
        </p:nvSpPr>
        <p:spPr>
          <a:xfrm>
            <a:off x="644017" y="4953001"/>
            <a:ext cx="6315584" cy="298450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1800"/>
            </a:lvl1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12" name="Content Placeholder 16"/>
          <p:cNvSpPr>
            <a:spLocks noGrp="1"/>
          </p:cNvSpPr>
          <p:nvPr>
            <p:ph sz="quarter" idx="11" hasCustomPrompt="1"/>
          </p:nvPr>
        </p:nvSpPr>
        <p:spPr>
          <a:xfrm>
            <a:off x="644016" y="5314944"/>
            <a:ext cx="6315584" cy="292106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1800"/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4894095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012" y="2761638"/>
            <a:ext cx="11247907" cy="603863"/>
          </a:xfrm>
        </p:spPr>
        <p:txBody>
          <a:bodyPr anchor="t">
            <a:normAutofit/>
          </a:bodyPr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70066" y="3385482"/>
            <a:ext cx="11251852" cy="373719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1"/>
            <a:ext cx="7927259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/>
          </a:p>
        </p:txBody>
      </p:sp>
      <p:sp>
        <p:nvSpPr>
          <p:cNvPr id="12" name="Rectangle 11"/>
          <p:cNvSpPr/>
          <p:nvPr userDrawn="1"/>
        </p:nvSpPr>
        <p:spPr>
          <a:xfrm>
            <a:off x="7927258" y="1"/>
            <a:ext cx="1224117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/>
          </a:p>
        </p:txBody>
      </p:sp>
      <p:sp>
        <p:nvSpPr>
          <p:cNvPr id="13" name="Rectangle 12"/>
          <p:cNvSpPr/>
          <p:nvPr userDrawn="1"/>
        </p:nvSpPr>
        <p:spPr>
          <a:xfrm>
            <a:off x="9151373" y="1"/>
            <a:ext cx="2470544" cy="420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/>
          </a:p>
        </p:txBody>
      </p:sp>
      <p:sp>
        <p:nvSpPr>
          <p:cNvPr id="14" name="Rectangle 13"/>
          <p:cNvSpPr/>
          <p:nvPr userDrawn="1"/>
        </p:nvSpPr>
        <p:spPr>
          <a:xfrm>
            <a:off x="11621915" y="1"/>
            <a:ext cx="570085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142590952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58878" y="204830"/>
            <a:ext cx="9259257" cy="657953"/>
          </a:xfrm>
        </p:spPr>
        <p:txBody>
          <a:bodyPr anchor="t">
            <a:noAutofit/>
          </a:bodyPr>
          <a:lstStyle/>
          <a:p>
            <a:r>
              <a:rPr lang="en-US" dirty="0"/>
              <a:t>Agenda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59834" y="1869018"/>
            <a:ext cx="9258300" cy="4226983"/>
          </a:xfrm>
        </p:spPr>
        <p:txBody>
          <a:bodyPr>
            <a:normAutofit/>
          </a:bodyPr>
          <a:lstStyle>
            <a:lvl1pPr>
              <a:lnSpc>
                <a:spcPts val="4500"/>
              </a:lnSpc>
              <a:defRPr sz="22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.</a:t>
            </a:r>
          </a:p>
          <a:p>
            <a:pPr lvl="0"/>
            <a:r>
              <a:rPr lang="en-US" dirty="0"/>
              <a:t>2.</a:t>
            </a:r>
          </a:p>
          <a:p>
            <a:pPr lvl="0"/>
            <a:r>
              <a:rPr lang="en-US" dirty="0"/>
              <a:t>3.</a:t>
            </a:r>
          </a:p>
          <a:p>
            <a:pPr lvl="0"/>
            <a:r>
              <a:rPr lang="en-US" dirty="0"/>
              <a:t>4.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57364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</a:t>
            </a:r>
          </a:p>
        </p:txBody>
      </p:sp>
    </p:spTree>
    <p:extLst>
      <p:ext uri="{BB962C8B-B14F-4D97-AF65-F5344CB8AC3E}">
        <p14:creationId xmlns:p14="http://schemas.microsoft.com/office/powerpoint/2010/main" val="413850934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" y="973192"/>
            <a:ext cx="850900" cy="342617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1" y="998117"/>
            <a:ext cx="7862324" cy="3401253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spcAft>
                <a:spcPts val="0"/>
              </a:spcAft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" y="973192"/>
            <a:ext cx="850900" cy="34261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10" name="Title 2"/>
          <p:cNvSpPr txBox="1">
            <a:spLocks/>
          </p:cNvSpPr>
          <p:nvPr userDrawn="1"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3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</a:t>
            </a:r>
          </a:p>
        </p:txBody>
      </p:sp>
    </p:spTree>
    <p:extLst>
      <p:ext uri="{BB962C8B-B14F-4D97-AF65-F5344CB8AC3E}">
        <p14:creationId xmlns:p14="http://schemas.microsoft.com/office/powerpoint/2010/main" val="27608832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(Logo)" type="secHead">
  <p:cSld name="SECTION_HEADER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10"/>
          <p:cNvSpPr txBox="1">
            <a:spLocks noGrp="1"/>
          </p:cNvSpPr>
          <p:nvPr>
            <p:ph type="title"/>
          </p:nvPr>
        </p:nvSpPr>
        <p:spPr>
          <a:xfrm>
            <a:off x="831850" y="1383166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6000"/>
              <a:buFont typeface="Open Sans SemiBold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10"/>
          <p:cNvSpPr txBox="1">
            <a:spLocks noGrp="1"/>
          </p:cNvSpPr>
          <p:nvPr>
            <p:ph type="body" idx="1"/>
          </p:nvPr>
        </p:nvSpPr>
        <p:spPr>
          <a:xfrm>
            <a:off x="831850" y="4262891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595C"/>
              </a:buClr>
              <a:buSzPts val="2400"/>
              <a:buNone/>
              <a:defRPr sz="2400">
                <a:solidFill>
                  <a:srgbClr val="57595C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2000"/>
              <a:buNone/>
              <a:defRPr sz="2000">
                <a:solidFill>
                  <a:srgbClr val="8C8C8C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800"/>
              <a:buNone/>
              <a:defRPr sz="1800">
                <a:solidFill>
                  <a:srgbClr val="8C8C8C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" y="973192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1" y="998117"/>
            <a:ext cx="7862324" cy="3401253"/>
          </a:xfrm>
        </p:spPr>
        <p:txBody>
          <a:bodyPr anchor="t">
            <a:noAutofit/>
          </a:bodyPr>
          <a:lstStyle>
            <a:lvl1pPr algn="l"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" y="973192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10" name="Title 2"/>
          <p:cNvSpPr txBox="1">
            <a:spLocks/>
          </p:cNvSpPr>
          <p:nvPr userDrawn="1"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</a:t>
            </a:r>
          </a:p>
        </p:txBody>
      </p:sp>
    </p:spTree>
    <p:extLst>
      <p:ext uri="{BB962C8B-B14F-4D97-AF65-F5344CB8AC3E}">
        <p14:creationId xmlns:p14="http://schemas.microsoft.com/office/powerpoint/2010/main" val="223627855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973192"/>
            <a:ext cx="850900" cy="34261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3951" y="998117"/>
            <a:ext cx="7862324" cy="3401253"/>
          </a:xfrm>
        </p:spPr>
        <p:txBody>
          <a:bodyPr anchor="t">
            <a:noAutofit/>
          </a:bodyPr>
          <a:lstStyle>
            <a:lvl1pPr algn="l"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1" y="973192"/>
            <a:ext cx="850900" cy="34261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9" name="Title 2"/>
          <p:cNvSpPr txBox="1">
            <a:spLocks/>
          </p:cNvSpPr>
          <p:nvPr userDrawn="1"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</a:t>
            </a:r>
          </a:p>
        </p:txBody>
      </p:sp>
    </p:spTree>
    <p:extLst>
      <p:ext uri="{BB962C8B-B14F-4D97-AF65-F5344CB8AC3E}">
        <p14:creationId xmlns:p14="http://schemas.microsoft.com/office/powerpoint/2010/main" val="315422976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8" y="1696285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8" y="204830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57364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</a:t>
            </a:r>
          </a:p>
        </p:txBody>
      </p:sp>
    </p:spTree>
    <p:extLst>
      <p:ext uri="{BB962C8B-B14F-4D97-AF65-F5344CB8AC3E}">
        <p14:creationId xmlns:p14="http://schemas.microsoft.com/office/powerpoint/2010/main" val="124904036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8" y="204830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57364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</a:t>
            </a:r>
          </a:p>
        </p:txBody>
      </p:sp>
    </p:spTree>
    <p:extLst>
      <p:ext uri="{BB962C8B-B14F-4D97-AF65-F5344CB8AC3E}">
        <p14:creationId xmlns:p14="http://schemas.microsoft.com/office/powerpoint/2010/main" val="295208856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s - 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8877" y="206478"/>
            <a:ext cx="9259257" cy="101272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8" y="1977231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219201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</a:t>
            </a:r>
          </a:p>
        </p:txBody>
      </p:sp>
    </p:spTree>
    <p:extLst>
      <p:ext uri="{BB962C8B-B14F-4D97-AF65-F5344CB8AC3E}">
        <p14:creationId xmlns:p14="http://schemas.microsoft.com/office/powerpoint/2010/main" val="77205649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s,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58877" y="206478"/>
            <a:ext cx="9259257" cy="101272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219201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</a:t>
            </a:r>
          </a:p>
        </p:txBody>
      </p:sp>
    </p:spTree>
    <p:extLst>
      <p:ext uri="{BB962C8B-B14F-4D97-AF65-F5344CB8AC3E}">
        <p14:creationId xmlns:p14="http://schemas.microsoft.com/office/powerpoint/2010/main" val="429020833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Navig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7" y="204830"/>
            <a:ext cx="9259257" cy="65795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71123" y="1032009"/>
            <a:ext cx="1825903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578922" y="1032009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7024012" y="1032009"/>
            <a:ext cx="1809232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9215144" y="1032009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16" name="Title 2"/>
          <p:cNvSpPr txBox="1">
            <a:spLocks/>
          </p:cNvSpPr>
          <p:nvPr userDrawn="1"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66849" y="1434900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9" name="Rectangle 18"/>
          <p:cNvSpPr/>
          <p:nvPr userDrawn="1"/>
        </p:nvSpPr>
        <p:spPr>
          <a:xfrm>
            <a:off x="2578922" y="1434900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0" name="Rectangle 19"/>
          <p:cNvSpPr/>
          <p:nvPr userDrawn="1"/>
        </p:nvSpPr>
        <p:spPr>
          <a:xfrm>
            <a:off x="4790996" y="1433852"/>
            <a:ext cx="1830177" cy="609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1" name="Rectangle 20"/>
          <p:cNvSpPr/>
          <p:nvPr userDrawn="1"/>
        </p:nvSpPr>
        <p:spPr>
          <a:xfrm>
            <a:off x="7003067" y="1434900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7" name="Rectangle 26"/>
          <p:cNvSpPr/>
          <p:nvPr userDrawn="1"/>
        </p:nvSpPr>
        <p:spPr>
          <a:xfrm>
            <a:off x="9215144" y="1434900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4790996" y="1032009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356418" y="1696285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</a:t>
            </a:r>
          </a:p>
        </p:txBody>
      </p:sp>
    </p:spTree>
    <p:extLst>
      <p:ext uri="{BB962C8B-B14F-4D97-AF65-F5344CB8AC3E}">
        <p14:creationId xmlns:p14="http://schemas.microsoft.com/office/powerpoint/2010/main" val="63445818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Navig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4292056" y="1020719"/>
            <a:ext cx="1859461" cy="414180"/>
          </a:xfrm>
          <a:prstGeom prst="rect">
            <a:avLst/>
          </a:prstGeom>
          <a:solidFill>
            <a:schemeClr val="accent1"/>
          </a:solidFill>
          <a:ln w="25400" cap="rnd" cmpd="sng">
            <a:solidFill>
              <a:schemeClr val="accent1"/>
            </a:solidFill>
            <a:prstDash val="sysDot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7" y="204830"/>
            <a:ext cx="9259257" cy="65795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59834" y="1032009"/>
            <a:ext cx="1856045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324236" y="1032009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4284951" y="1032009"/>
            <a:ext cx="1859461" cy="402891"/>
          </a:xfrm>
        </p:spPr>
        <p:txBody>
          <a:bodyPr tIns="36576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6259876" y="1032009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8227695" y="1032009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16" name="Title 2"/>
          <p:cNvSpPr txBox="1">
            <a:spLocks/>
          </p:cNvSpPr>
          <p:nvPr userDrawn="1"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8" y="1696285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</a:t>
            </a:r>
          </a:p>
        </p:txBody>
      </p:sp>
    </p:spTree>
    <p:extLst>
      <p:ext uri="{BB962C8B-B14F-4D97-AF65-F5344CB8AC3E}">
        <p14:creationId xmlns:p14="http://schemas.microsoft.com/office/powerpoint/2010/main" val="88889572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875" y="1452246"/>
            <a:ext cx="5181600" cy="4351339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92875" y="1452246"/>
            <a:ext cx="5181600" cy="4351339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2"/>
          <p:cNvSpPr txBox="1">
            <a:spLocks/>
          </p:cNvSpPr>
          <p:nvPr userDrawn="1"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8" y="204830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</a:t>
            </a:r>
          </a:p>
        </p:txBody>
      </p:sp>
    </p:spTree>
    <p:extLst>
      <p:ext uri="{BB962C8B-B14F-4D97-AF65-F5344CB8AC3E}">
        <p14:creationId xmlns:p14="http://schemas.microsoft.com/office/powerpoint/2010/main" val="9651000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878" y="1845870"/>
            <a:ext cx="3374012" cy="643330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2"/>
          <p:cNvSpPr txBox="1">
            <a:spLocks/>
          </p:cNvSpPr>
          <p:nvPr userDrawn="1"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4193497" y="1845870"/>
            <a:ext cx="3374012" cy="643330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8"/>
          </p:nvPr>
        </p:nvSpPr>
        <p:spPr>
          <a:xfrm>
            <a:off x="8007639" y="1845870"/>
            <a:ext cx="3374012" cy="643330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58878" y="204830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62679" y="2659248"/>
            <a:ext cx="3374765" cy="3272367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194311" y="2659248"/>
            <a:ext cx="3374765" cy="3272367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8006884" y="2659248"/>
            <a:ext cx="3374765" cy="3272367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353132" y="857364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2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</a:t>
            </a:r>
          </a:p>
        </p:txBody>
      </p:sp>
    </p:spTree>
    <p:extLst>
      <p:ext uri="{BB962C8B-B14F-4D97-AF65-F5344CB8AC3E}">
        <p14:creationId xmlns:p14="http://schemas.microsoft.com/office/powerpoint/2010/main" val="5105654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(Tagline)">
  <p:cSld name="Section Header (Tagline)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1"/>
          <p:cNvSpPr txBox="1">
            <a:spLocks noGrp="1"/>
          </p:cNvSpPr>
          <p:nvPr>
            <p:ph type="title"/>
          </p:nvPr>
        </p:nvSpPr>
        <p:spPr>
          <a:xfrm>
            <a:off x="831850" y="1383166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6000"/>
              <a:buFont typeface="Open Sans SemiBold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11"/>
          <p:cNvSpPr txBox="1">
            <a:spLocks noGrp="1"/>
          </p:cNvSpPr>
          <p:nvPr>
            <p:ph type="body" idx="1"/>
          </p:nvPr>
        </p:nvSpPr>
        <p:spPr>
          <a:xfrm>
            <a:off x="831850" y="4262891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595C"/>
              </a:buClr>
              <a:buSzPts val="2400"/>
              <a:buNone/>
              <a:defRPr sz="2400">
                <a:solidFill>
                  <a:srgbClr val="57595C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2000"/>
              <a:buNone/>
              <a:defRPr sz="2000">
                <a:solidFill>
                  <a:srgbClr val="8C8C8C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800"/>
              <a:buNone/>
              <a:defRPr sz="1800">
                <a:solidFill>
                  <a:srgbClr val="8C8C8C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8" y="204830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2"/>
          <p:cNvSpPr txBox="1">
            <a:spLocks/>
          </p:cNvSpPr>
          <p:nvPr userDrawn="1"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57364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356418" y="1920547"/>
            <a:ext cx="3590081" cy="575214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356418" y="3181447"/>
            <a:ext cx="3590081" cy="575214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6"/>
          </p:nvPr>
        </p:nvSpPr>
        <p:spPr>
          <a:xfrm>
            <a:off x="356418" y="4466711"/>
            <a:ext cx="3590081" cy="575214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4090135" y="1857046"/>
            <a:ext cx="7255468" cy="862965"/>
          </a:xfrm>
        </p:spPr>
        <p:txBody>
          <a:bodyPr tIns="0" bIns="0" anchor="t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18"/>
          </p:nvPr>
        </p:nvSpPr>
        <p:spPr>
          <a:xfrm>
            <a:off x="4090135" y="3125663"/>
            <a:ext cx="7255468" cy="879612"/>
          </a:xfrm>
        </p:spPr>
        <p:txBody>
          <a:bodyPr tIns="0" bIns="0" anchor="t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half" idx="19"/>
          </p:nvPr>
        </p:nvSpPr>
        <p:spPr>
          <a:xfrm>
            <a:off x="4090135" y="4403210"/>
            <a:ext cx="7255468" cy="1045091"/>
          </a:xfrm>
        </p:spPr>
        <p:txBody>
          <a:bodyPr tIns="0" bIns="0" anchor="t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230645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Rows /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95457" y="4122421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3241121" y="4122421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6186784" y="4122421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7"/>
          </p:nvPr>
        </p:nvSpPr>
        <p:spPr>
          <a:xfrm>
            <a:off x="9132445" y="4122421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2"/>
          <p:cNvSpPr txBox="1">
            <a:spLocks/>
          </p:cNvSpPr>
          <p:nvPr userDrawn="1"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58877" y="206478"/>
            <a:ext cx="9259257" cy="101272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219201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</a:t>
            </a:r>
          </a:p>
        </p:txBody>
      </p:sp>
    </p:spTree>
    <p:extLst>
      <p:ext uri="{BB962C8B-B14F-4D97-AF65-F5344CB8AC3E}">
        <p14:creationId xmlns:p14="http://schemas.microsoft.com/office/powerpoint/2010/main" val="389089497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t>‹#›</a:t>
            </a:fld>
            <a:endParaRPr lang="en-US"/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</a:t>
            </a:r>
          </a:p>
        </p:txBody>
      </p:sp>
    </p:spTree>
    <p:extLst>
      <p:ext uri="{BB962C8B-B14F-4D97-AF65-F5344CB8AC3E}">
        <p14:creationId xmlns:p14="http://schemas.microsoft.com/office/powerpoint/2010/main" val="392676255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 preferRelativeResize="0"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1129" y="947484"/>
            <a:ext cx="2314409" cy="15934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4" t="25599" r="9369" b="25265"/>
          <a:stretch/>
        </p:blipFill>
        <p:spPr>
          <a:xfrm>
            <a:off x="720214" y="674176"/>
            <a:ext cx="2934117" cy="520139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0" y="6444022"/>
            <a:ext cx="7927259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/>
          </a:p>
        </p:txBody>
      </p:sp>
      <p:sp>
        <p:nvSpPr>
          <p:cNvPr id="18" name="Rectangle 17"/>
          <p:cNvSpPr/>
          <p:nvPr/>
        </p:nvSpPr>
        <p:spPr>
          <a:xfrm>
            <a:off x="7927258" y="6444022"/>
            <a:ext cx="1224117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/>
          </a:p>
        </p:txBody>
      </p:sp>
      <p:sp>
        <p:nvSpPr>
          <p:cNvPr id="19" name="Rectangle 18"/>
          <p:cNvSpPr/>
          <p:nvPr/>
        </p:nvSpPr>
        <p:spPr>
          <a:xfrm>
            <a:off x="9151373" y="6444022"/>
            <a:ext cx="2470544" cy="420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/>
          </a:p>
        </p:txBody>
      </p:sp>
      <p:sp>
        <p:nvSpPr>
          <p:cNvPr id="20" name="Rectangle 19"/>
          <p:cNvSpPr/>
          <p:nvPr/>
        </p:nvSpPr>
        <p:spPr>
          <a:xfrm>
            <a:off x="11621915" y="6444022"/>
            <a:ext cx="570085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/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644018" y="3704884"/>
            <a:ext cx="10861521" cy="774216"/>
          </a:xfr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3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4017" y="4577048"/>
            <a:ext cx="6315584" cy="325152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Presenter’s Name</a:t>
            </a:r>
          </a:p>
        </p:txBody>
      </p:sp>
      <p:sp>
        <p:nvSpPr>
          <p:cNvPr id="24" name="Content Placeholder 16"/>
          <p:cNvSpPr>
            <a:spLocks noGrp="1"/>
          </p:cNvSpPr>
          <p:nvPr>
            <p:ph sz="quarter" idx="10" hasCustomPrompt="1"/>
          </p:nvPr>
        </p:nvSpPr>
        <p:spPr>
          <a:xfrm>
            <a:off x="644017" y="4953001"/>
            <a:ext cx="6315584" cy="298450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1800"/>
            </a:lvl1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12" name="Content Placeholder 16"/>
          <p:cNvSpPr>
            <a:spLocks noGrp="1"/>
          </p:cNvSpPr>
          <p:nvPr>
            <p:ph sz="quarter" idx="11" hasCustomPrompt="1"/>
          </p:nvPr>
        </p:nvSpPr>
        <p:spPr>
          <a:xfrm>
            <a:off x="644016" y="5314944"/>
            <a:ext cx="6315584" cy="292106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1800"/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15" name="Picture 14"/>
          <p:cNvPicPr preferRelativeResize="0"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1129" y="947484"/>
            <a:ext cx="2314409" cy="159342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4" t="25599" r="9369" b="25265"/>
          <a:stretch/>
        </p:blipFill>
        <p:spPr>
          <a:xfrm>
            <a:off x="720214" y="674176"/>
            <a:ext cx="2934117" cy="520139"/>
          </a:xfrm>
          <a:prstGeom prst="rect">
            <a:avLst/>
          </a:prstGeom>
        </p:spPr>
      </p:pic>
      <p:sp>
        <p:nvSpPr>
          <p:cNvPr id="23" name="Rectangle 22"/>
          <p:cNvSpPr/>
          <p:nvPr userDrawn="1"/>
        </p:nvSpPr>
        <p:spPr>
          <a:xfrm>
            <a:off x="0" y="6444022"/>
            <a:ext cx="7927259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7927258" y="6444022"/>
            <a:ext cx="1224117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9151373" y="6444022"/>
            <a:ext cx="2470544" cy="420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11621915" y="6444022"/>
            <a:ext cx="570085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9819460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012" y="2761638"/>
            <a:ext cx="11247907" cy="603863"/>
          </a:xfrm>
        </p:spPr>
        <p:txBody>
          <a:bodyPr anchor="t">
            <a:norm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  <a:latin typeface="Arial"/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70066" y="3385482"/>
            <a:ext cx="11251852" cy="373719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>
              <a:solidFill>
                <a:srgbClr val="0061A0"/>
              </a:solidFill>
              <a:latin typeface="Arial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0" y="1"/>
            <a:ext cx="7927259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/>
          </a:p>
        </p:txBody>
      </p:sp>
      <p:sp>
        <p:nvSpPr>
          <p:cNvPr id="12" name="Rectangle 11"/>
          <p:cNvSpPr/>
          <p:nvPr/>
        </p:nvSpPr>
        <p:spPr>
          <a:xfrm>
            <a:off x="7927258" y="1"/>
            <a:ext cx="1224117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/>
          </a:p>
        </p:txBody>
      </p:sp>
      <p:sp>
        <p:nvSpPr>
          <p:cNvPr id="13" name="Rectangle 12"/>
          <p:cNvSpPr/>
          <p:nvPr/>
        </p:nvSpPr>
        <p:spPr>
          <a:xfrm>
            <a:off x="9151373" y="1"/>
            <a:ext cx="2470544" cy="420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/>
          </a:p>
        </p:txBody>
      </p:sp>
      <p:sp>
        <p:nvSpPr>
          <p:cNvPr id="14" name="Rectangle 13"/>
          <p:cNvSpPr/>
          <p:nvPr/>
        </p:nvSpPr>
        <p:spPr>
          <a:xfrm>
            <a:off x="11621915" y="1"/>
            <a:ext cx="570085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/>
          </a:p>
        </p:txBody>
      </p:sp>
      <p:sp>
        <p:nvSpPr>
          <p:cNvPr id="16" name="Rectangle 15"/>
          <p:cNvSpPr/>
          <p:nvPr userDrawn="1"/>
        </p:nvSpPr>
        <p:spPr>
          <a:xfrm>
            <a:off x="0" y="1"/>
            <a:ext cx="7927259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7927258" y="1"/>
            <a:ext cx="1224117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9151373" y="1"/>
            <a:ext cx="2470544" cy="420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11621915" y="1"/>
            <a:ext cx="570085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2783259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  <a:latin typeface="Arial"/>
              </a:rPr>
              <a:pPr/>
              <a:t>‹#›</a:t>
            </a:fld>
            <a:endParaRPr lang="en-US">
              <a:solidFill>
                <a:srgbClr val="75787B"/>
              </a:solidFill>
              <a:latin typeface="Arial"/>
            </a:endParaRPr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58878" y="204830"/>
            <a:ext cx="9259257" cy="657953"/>
          </a:xfrm>
        </p:spPr>
        <p:txBody>
          <a:bodyPr anchor="t">
            <a:noAutofit/>
          </a:bodyPr>
          <a:lstStyle/>
          <a:p>
            <a:r>
              <a:rPr lang="en-US" dirty="0"/>
              <a:t>Agenda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59834" y="1869018"/>
            <a:ext cx="9258300" cy="4226983"/>
          </a:xfrm>
        </p:spPr>
        <p:txBody>
          <a:bodyPr>
            <a:normAutofit/>
          </a:bodyPr>
          <a:lstStyle>
            <a:lvl1pPr>
              <a:lnSpc>
                <a:spcPts val="4500"/>
              </a:lnSpc>
              <a:defRPr sz="22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.</a:t>
            </a:r>
          </a:p>
          <a:p>
            <a:pPr lvl="0"/>
            <a:r>
              <a:rPr lang="en-US" dirty="0"/>
              <a:t>2.</a:t>
            </a:r>
          </a:p>
          <a:p>
            <a:pPr lvl="0"/>
            <a:r>
              <a:rPr lang="en-US" dirty="0"/>
              <a:t>3.</a:t>
            </a:r>
          </a:p>
          <a:p>
            <a:pPr lvl="0"/>
            <a:r>
              <a:rPr lang="en-US" dirty="0"/>
              <a:t>4.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57364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>
              <a:solidFill>
                <a:srgbClr val="0061A0"/>
              </a:solidFill>
              <a:latin typeface="Arial"/>
            </a:endParaRPr>
          </a:p>
        </p:txBody>
      </p:sp>
      <p:sp>
        <p:nvSpPr>
          <p:cNvPr id="9" name="Title 2"/>
          <p:cNvSpPr txBox="1">
            <a:spLocks/>
          </p:cNvSpPr>
          <p:nvPr userDrawn="1"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56873832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  <a:latin typeface="Arial"/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" y="973192"/>
            <a:ext cx="850900" cy="342617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1" y="998117"/>
            <a:ext cx="7862324" cy="3401253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spcAft>
                <a:spcPts val="0"/>
              </a:spcAft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/>
        </p:nvSpPr>
        <p:spPr>
          <a:xfrm>
            <a:off x="1" y="973192"/>
            <a:ext cx="850900" cy="34261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3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>
              <a:solidFill>
                <a:srgbClr val="0061A0"/>
              </a:solidFill>
              <a:latin typeface="Arial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1" y="973192"/>
            <a:ext cx="850900" cy="34261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Title 2"/>
          <p:cNvSpPr txBox="1">
            <a:spLocks/>
          </p:cNvSpPr>
          <p:nvPr userDrawn="1"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59984840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  <a:latin typeface="Arial"/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" y="973192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1" y="998117"/>
            <a:ext cx="7862324" cy="3401253"/>
          </a:xfrm>
        </p:spPr>
        <p:txBody>
          <a:bodyPr anchor="t">
            <a:noAutofit/>
          </a:bodyPr>
          <a:lstStyle>
            <a:lvl1pPr algn="l"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/>
        </p:nvSpPr>
        <p:spPr>
          <a:xfrm>
            <a:off x="1" y="973192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>
              <a:solidFill>
                <a:srgbClr val="0061A0"/>
              </a:solidFill>
              <a:latin typeface="Arial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" y="973192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" name="Title 2"/>
          <p:cNvSpPr txBox="1">
            <a:spLocks/>
          </p:cNvSpPr>
          <p:nvPr userDrawn="1"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76372438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973192"/>
            <a:ext cx="850900" cy="34261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3951" y="998117"/>
            <a:ext cx="7862324" cy="3401253"/>
          </a:xfrm>
        </p:spPr>
        <p:txBody>
          <a:bodyPr anchor="t">
            <a:noAutofit/>
          </a:bodyPr>
          <a:lstStyle>
            <a:lvl1pPr algn="l"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  <a:latin typeface="Arial"/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973192"/>
            <a:ext cx="850900" cy="34261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>
              <a:solidFill>
                <a:srgbClr val="0061A0"/>
              </a:solidFill>
              <a:latin typeface="Arial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1" y="973192"/>
            <a:ext cx="850900" cy="34261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Title 2"/>
          <p:cNvSpPr txBox="1">
            <a:spLocks/>
          </p:cNvSpPr>
          <p:nvPr userDrawn="1"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56884793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8" y="1696285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  <a:latin typeface="Arial"/>
              </a:rPr>
              <a:pPr/>
              <a:t>‹#›</a:t>
            </a:fld>
            <a:endParaRPr lang="en-US">
              <a:solidFill>
                <a:srgbClr val="75787B"/>
              </a:solidFill>
              <a:latin typeface="Arial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8" y="204830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57364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>
              <a:solidFill>
                <a:srgbClr val="0061A0"/>
              </a:solidFill>
              <a:latin typeface="Arial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289144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(Logo and Tagline)">
  <p:cSld name="Section Header (Logo and Tagline)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12"/>
          <p:cNvSpPr txBox="1">
            <a:spLocks noGrp="1"/>
          </p:cNvSpPr>
          <p:nvPr>
            <p:ph type="title"/>
          </p:nvPr>
        </p:nvSpPr>
        <p:spPr>
          <a:xfrm>
            <a:off x="831850" y="1383166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6000"/>
              <a:buFont typeface="Open Sans SemiBold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" name="Google Shape;40;p12"/>
          <p:cNvSpPr txBox="1">
            <a:spLocks noGrp="1"/>
          </p:cNvSpPr>
          <p:nvPr>
            <p:ph type="body" idx="1"/>
          </p:nvPr>
        </p:nvSpPr>
        <p:spPr>
          <a:xfrm>
            <a:off x="831850" y="4262891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595C"/>
              </a:buClr>
              <a:buSzPts val="2400"/>
              <a:buNone/>
              <a:defRPr sz="2400">
                <a:solidFill>
                  <a:srgbClr val="57595C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2000"/>
              <a:buNone/>
              <a:defRPr sz="2000">
                <a:solidFill>
                  <a:srgbClr val="8C8C8C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800"/>
              <a:buNone/>
              <a:defRPr sz="1800">
                <a:solidFill>
                  <a:srgbClr val="8C8C8C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  <a:latin typeface="Arial"/>
              </a:rPr>
              <a:pPr/>
              <a:t>‹#›</a:t>
            </a:fld>
            <a:endParaRPr lang="en-US">
              <a:solidFill>
                <a:srgbClr val="75787B"/>
              </a:solidFill>
              <a:latin typeface="Arial"/>
            </a:endParaRPr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8" y="204830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57364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>
              <a:solidFill>
                <a:srgbClr val="0061A0"/>
              </a:solidFill>
              <a:latin typeface="Arial"/>
            </a:endParaRPr>
          </a:p>
        </p:txBody>
      </p:sp>
      <p:sp>
        <p:nvSpPr>
          <p:cNvPr id="7" name="Title 2"/>
          <p:cNvSpPr txBox="1">
            <a:spLocks/>
          </p:cNvSpPr>
          <p:nvPr userDrawn="1"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68877877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Lines - 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  <a:latin typeface="Arial"/>
              </a:rPr>
              <a:pPr/>
              <a:t>‹#›</a:t>
            </a:fld>
            <a:endParaRPr lang="en-US">
              <a:solidFill>
                <a:srgbClr val="75787B"/>
              </a:solidFill>
              <a:latin typeface="Arial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8877" y="206478"/>
            <a:ext cx="9259257" cy="101272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8" y="1977231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219201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>
              <a:solidFill>
                <a:srgbClr val="0061A0"/>
              </a:solidFill>
              <a:latin typeface="Arial"/>
            </a:endParaRPr>
          </a:p>
        </p:txBody>
      </p:sp>
      <p:sp>
        <p:nvSpPr>
          <p:cNvPr id="11" name="Title 2"/>
          <p:cNvSpPr txBox="1">
            <a:spLocks/>
          </p:cNvSpPr>
          <p:nvPr userDrawn="1"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35474983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lines,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  <a:latin typeface="Arial"/>
              </a:rPr>
              <a:pPr/>
              <a:t>‹#›</a:t>
            </a:fld>
            <a:endParaRPr lang="en-US">
              <a:solidFill>
                <a:srgbClr val="75787B"/>
              </a:solidFill>
              <a:latin typeface="Arial"/>
            </a:endParaRPr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58877" y="206478"/>
            <a:ext cx="9259257" cy="101272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219201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>
              <a:solidFill>
                <a:srgbClr val="0061A0"/>
              </a:solidFill>
              <a:latin typeface="Arial"/>
            </a:endParaRPr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2"/>
          <p:cNvSpPr txBox="1">
            <a:spLocks/>
          </p:cNvSpPr>
          <p:nvPr userDrawn="1"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57377436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Navig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7" y="204830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  <a:latin typeface="Arial"/>
              </a:rPr>
              <a:pPr/>
              <a:t>‹#›</a:t>
            </a:fld>
            <a:endParaRPr lang="en-US">
              <a:solidFill>
                <a:srgbClr val="75787B"/>
              </a:solidFill>
              <a:latin typeface="Arial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71123" y="1032009"/>
            <a:ext cx="1825903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578922" y="1032009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7024012" y="1032009"/>
            <a:ext cx="1809232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9215144" y="1032009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16" name="Title 2"/>
          <p:cNvSpPr txBox="1">
            <a:spLocks/>
          </p:cNvSpPr>
          <p:nvPr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4" name="Rectangle 3"/>
          <p:cNvSpPr/>
          <p:nvPr/>
        </p:nvSpPr>
        <p:spPr>
          <a:xfrm>
            <a:off x="366849" y="1434900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9" name="Rectangle 18"/>
          <p:cNvSpPr/>
          <p:nvPr/>
        </p:nvSpPr>
        <p:spPr>
          <a:xfrm>
            <a:off x="2578922" y="1434900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0" name="Rectangle 19"/>
          <p:cNvSpPr/>
          <p:nvPr/>
        </p:nvSpPr>
        <p:spPr>
          <a:xfrm>
            <a:off x="4790996" y="1433852"/>
            <a:ext cx="1830177" cy="609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1" name="Rectangle 20"/>
          <p:cNvSpPr/>
          <p:nvPr/>
        </p:nvSpPr>
        <p:spPr>
          <a:xfrm>
            <a:off x="7003067" y="1434900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7" name="Rectangle 26"/>
          <p:cNvSpPr/>
          <p:nvPr/>
        </p:nvSpPr>
        <p:spPr>
          <a:xfrm>
            <a:off x="9215144" y="1434900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4790996" y="1032009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356418" y="1696285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>
              <a:solidFill>
                <a:srgbClr val="0061A0"/>
              </a:solidFill>
              <a:latin typeface="Arial"/>
            </a:endParaRPr>
          </a:p>
        </p:txBody>
      </p:sp>
      <p:sp>
        <p:nvSpPr>
          <p:cNvPr id="18" name="Title 2"/>
          <p:cNvSpPr txBox="1">
            <a:spLocks/>
          </p:cNvSpPr>
          <p:nvPr userDrawn="1"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366849" y="1434900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2578922" y="1434900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1" name="Rectangle 30"/>
          <p:cNvSpPr/>
          <p:nvPr userDrawn="1"/>
        </p:nvSpPr>
        <p:spPr>
          <a:xfrm>
            <a:off x="4790996" y="1433852"/>
            <a:ext cx="1830177" cy="609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2" name="Rectangle 31"/>
          <p:cNvSpPr/>
          <p:nvPr userDrawn="1"/>
        </p:nvSpPr>
        <p:spPr>
          <a:xfrm>
            <a:off x="7003067" y="1434900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9215144" y="1434900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8539459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Navig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4292056" y="1020719"/>
            <a:ext cx="1859461" cy="414180"/>
          </a:xfrm>
          <a:prstGeom prst="rect">
            <a:avLst/>
          </a:prstGeom>
          <a:solidFill>
            <a:schemeClr val="accent1"/>
          </a:solidFill>
          <a:ln w="25400" cap="rnd" cmpd="sng">
            <a:solidFill>
              <a:schemeClr val="accent1"/>
            </a:solidFill>
            <a:prstDash val="sysDot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7" y="204830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  <a:latin typeface="Arial"/>
              </a:rPr>
              <a:pPr/>
              <a:t>‹#›</a:t>
            </a:fld>
            <a:endParaRPr lang="en-US">
              <a:solidFill>
                <a:srgbClr val="75787B"/>
              </a:solidFill>
              <a:latin typeface="Arial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59834" y="1032009"/>
            <a:ext cx="1856045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324236" y="1032009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4284951" y="1032009"/>
            <a:ext cx="1859461" cy="402891"/>
          </a:xfrm>
        </p:spPr>
        <p:txBody>
          <a:bodyPr tIns="36576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6259876" y="1032009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8227695" y="1032009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16" name="Title 2"/>
          <p:cNvSpPr txBox="1">
            <a:spLocks/>
          </p:cNvSpPr>
          <p:nvPr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8" y="1696285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>
              <a:solidFill>
                <a:srgbClr val="0061A0"/>
              </a:solidFill>
              <a:latin typeface="Arial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4292056" y="1020719"/>
            <a:ext cx="1859461" cy="414180"/>
          </a:xfrm>
          <a:prstGeom prst="rect">
            <a:avLst/>
          </a:prstGeom>
          <a:solidFill>
            <a:schemeClr val="accent1"/>
          </a:solidFill>
          <a:ln w="25400" cap="rnd" cmpd="sng">
            <a:solidFill>
              <a:schemeClr val="accent1"/>
            </a:solidFill>
            <a:prstDash val="sysDot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7" name="Title 2"/>
          <p:cNvSpPr txBox="1">
            <a:spLocks/>
          </p:cNvSpPr>
          <p:nvPr userDrawn="1"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3605747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875" y="1452246"/>
            <a:ext cx="5181600" cy="4351339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92875" y="1452246"/>
            <a:ext cx="5181600" cy="4351339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  <a:latin typeface="Arial"/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8" y="204830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>
              <a:solidFill>
                <a:srgbClr val="0061A0"/>
              </a:solidFill>
              <a:latin typeface="Arial"/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95284508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878" y="1845870"/>
            <a:ext cx="3374012" cy="643330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  <a:latin typeface="Arial"/>
              </a:rPr>
              <a:pPr/>
              <a:t>‹#›</a:t>
            </a:fld>
            <a:endParaRPr lang="en-US">
              <a:solidFill>
                <a:srgbClr val="75787B"/>
              </a:solidFill>
              <a:latin typeface="Arial"/>
            </a:endParaRPr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4193497" y="1845870"/>
            <a:ext cx="3374012" cy="643330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8"/>
          </p:nvPr>
        </p:nvSpPr>
        <p:spPr>
          <a:xfrm>
            <a:off x="8007639" y="1845870"/>
            <a:ext cx="3374012" cy="643330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58878" y="204830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62679" y="2659248"/>
            <a:ext cx="3374765" cy="3272367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194311" y="2659248"/>
            <a:ext cx="3374765" cy="3272367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8006884" y="2659248"/>
            <a:ext cx="3374765" cy="3272367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353132" y="857364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2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>
              <a:solidFill>
                <a:srgbClr val="0061A0"/>
              </a:solidFill>
              <a:latin typeface="Arial"/>
            </a:endParaRPr>
          </a:p>
        </p:txBody>
      </p:sp>
      <p:sp>
        <p:nvSpPr>
          <p:cNvPr id="13" name="Title 2"/>
          <p:cNvSpPr txBox="1">
            <a:spLocks/>
          </p:cNvSpPr>
          <p:nvPr userDrawn="1"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35410676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8" y="204830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  <a:latin typeface="Arial"/>
              </a:rPr>
              <a:pPr/>
              <a:t>‹#›</a:t>
            </a:fld>
            <a:endParaRPr lang="en-US">
              <a:solidFill>
                <a:srgbClr val="75787B"/>
              </a:solidFill>
              <a:latin typeface="Arial"/>
            </a:endParaRPr>
          </a:p>
        </p:txBody>
      </p:sp>
      <p:sp>
        <p:nvSpPr>
          <p:cNvPr id="15" name="Title 2"/>
          <p:cNvSpPr txBox="1">
            <a:spLocks/>
          </p:cNvSpPr>
          <p:nvPr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57364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>
              <a:solidFill>
                <a:srgbClr val="0061A0"/>
              </a:solidFill>
              <a:latin typeface="Arial"/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356418" y="1920547"/>
            <a:ext cx="3590081" cy="575214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356418" y="3181447"/>
            <a:ext cx="3590081" cy="575214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6"/>
          </p:nvPr>
        </p:nvSpPr>
        <p:spPr>
          <a:xfrm>
            <a:off x="356418" y="4466711"/>
            <a:ext cx="3590081" cy="575214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4090135" y="1857046"/>
            <a:ext cx="7255468" cy="862965"/>
          </a:xfrm>
        </p:spPr>
        <p:txBody>
          <a:bodyPr tIns="0" bIns="0" anchor="t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18"/>
          </p:nvPr>
        </p:nvSpPr>
        <p:spPr>
          <a:xfrm>
            <a:off x="4090135" y="3125663"/>
            <a:ext cx="7255468" cy="879612"/>
          </a:xfrm>
        </p:spPr>
        <p:txBody>
          <a:bodyPr tIns="0" bIns="0" anchor="t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half" idx="19"/>
          </p:nvPr>
        </p:nvSpPr>
        <p:spPr>
          <a:xfrm>
            <a:off x="4090135" y="4403210"/>
            <a:ext cx="7255468" cy="1045091"/>
          </a:xfrm>
        </p:spPr>
        <p:txBody>
          <a:bodyPr tIns="0" bIns="0" anchor="t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2"/>
          <p:cNvSpPr txBox="1">
            <a:spLocks/>
          </p:cNvSpPr>
          <p:nvPr userDrawn="1"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21200599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Rows /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  <a:latin typeface="Arial"/>
              </a:rPr>
              <a:pPr/>
              <a:t>‹#›</a:t>
            </a:fld>
            <a:endParaRPr lang="en-US">
              <a:solidFill>
                <a:srgbClr val="75787B"/>
              </a:solidFill>
              <a:latin typeface="Arial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95457" y="4122421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3241121" y="4122421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6186784" y="4122421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7"/>
          </p:nvPr>
        </p:nvSpPr>
        <p:spPr>
          <a:xfrm>
            <a:off x="9132445" y="4122421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58877" y="206478"/>
            <a:ext cx="9259257" cy="101272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219201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>
              <a:solidFill>
                <a:srgbClr val="0061A0"/>
              </a:solidFill>
              <a:latin typeface="Arial"/>
            </a:endParaRPr>
          </a:p>
        </p:txBody>
      </p:sp>
      <p:sp>
        <p:nvSpPr>
          <p:cNvPr id="15" name="Title 2"/>
          <p:cNvSpPr txBox="1">
            <a:spLocks/>
          </p:cNvSpPr>
          <p:nvPr userDrawn="1"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46337890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  <a:latin typeface="Arial"/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>
              <a:solidFill>
                <a:srgbClr val="0061A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938644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(Tagline) Video">
  <p:cSld name="Section Header (Tagline) Video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3"/>
          <p:cNvSpPr txBox="1">
            <a:spLocks noGrp="1"/>
          </p:cNvSpPr>
          <p:nvPr>
            <p:ph type="title"/>
          </p:nvPr>
        </p:nvSpPr>
        <p:spPr>
          <a:xfrm>
            <a:off x="831850" y="1383166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6000"/>
              <a:buFont typeface="Open Sans SemiBold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13"/>
          <p:cNvSpPr txBox="1">
            <a:spLocks noGrp="1"/>
          </p:cNvSpPr>
          <p:nvPr>
            <p:ph type="body" idx="1"/>
          </p:nvPr>
        </p:nvSpPr>
        <p:spPr>
          <a:xfrm>
            <a:off x="831850" y="4262891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595C"/>
              </a:buClr>
              <a:buSzPts val="2400"/>
              <a:buNone/>
              <a:defRPr sz="2400">
                <a:solidFill>
                  <a:srgbClr val="57595C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2000"/>
              <a:buNone/>
              <a:defRPr sz="2000">
                <a:solidFill>
                  <a:srgbClr val="8C8C8C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800"/>
              <a:buNone/>
              <a:defRPr sz="1800">
                <a:solidFill>
                  <a:srgbClr val="8C8C8C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8C"/>
              </a:buClr>
              <a:buSzPts val="1600"/>
              <a:buNone/>
              <a:defRPr sz="1600">
                <a:solidFill>
                  <a:srgbClr val="8C8C8C"/>
                </a:solidFill>
              </a:defRPr>
            </a:lvl9pPr>
          </a:lstStyle>
          <a:p>
            <a:endParaRPr/>
          </a:p>
        </p:txBody>
      </p:sp>
      <p:sp>
        <p:nvSpPr>
          <p:cNvPr id="44" name="Google Shape;44;p13"/>
          <p:cNvSpPr/>
          <p:nvPr/>
        </p:nvSpPr>
        <p:spPr>
          <a:xfrm>
            <a:off x="8444174" y="635714"/>
            <a:ext cx="2909626" cy="166264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5" Type="http://schemas.openxmlformats.org/officeDocument/2006/relationships/slideLayout" Target="../slideLayouts/slideLayout41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5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9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theme" Target="../theme/theme5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65.xml"/><Relationship Id="rId19" Type="http://schemas.openxmlformats.org/officeDocument/2006/relationships/image" Target="../media/image8.jpg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theme" Target="../theme/theme6.xml"/><Relationship Id="rId3" Type="http://schemas.openxmlformats.org/officeDocument/2006/relationships/slideLayout" Target="../slideLayouts/slideLayout75.xml"/><Relationship Id="rId21" Type="http://schemas.openxmlformats.org/officeDocument/2006/relationships/image" Target="../media/image8.jpg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image" Target="../media/image10.emf"/><Relationship Id="rId10" Type="http://schemas.openxmlformats.org/officeDocument/2006/relationships/slideLayout" Target="../slideLayouts/slideLayout82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8">
            <a:alphaModFix/>
          </a:blip>
          <a:stretch>
            <a:fillRect/>
          </a:stretch>
        </a:blip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838200" y="635713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43673"/>
              </a:buClr>
              <a:buSzPts val="4400"/>
              <a:buFont typeface="Open Sans SemiBold"/>
              <a:buNone/>
              <a:defRPr sz="4400" b="0" i="0" u="none" strike="noStrike" cap="none">
                <a:solidFill>
                  <a:srgbClr val="043673"/>
                </a:solidFill>
                <a:latin typeface="Open Sans SemiBold"/>
                <a:ea typeface="Open Sans SemiBold"/>
                <a:cs typeface="Open Sans SemiBold"/>
                <a:sym typeface="Open Sans Semi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838200" y="2096213"/>
            <a:ext cx="105156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43673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43673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43673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43673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43673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43673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43673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1" r:id="rId10"/>
    <p:sldLayoutId id="2147483662" r:id="rId11"/>
    <p:sldLayoutId id="2147483663" r:id="rId12"/>
    <p:sldLayoutId id="2147483664" r:id="rId13"/>
    <p:sldLayoutId id="2147483665" r:id="rId14"/>
    <p:sldLayoutId id="2147483666" r:id="rId15"/>
    <p:sldLayoutId id="2147483667" r:id="rId16"/>
    <p:sldLayoutId id="2147483668" r:id="rId17"/>
    <p:sldLayoutId id="2147483669" r:id="rId18"/>
    <p:sldLayoutId id="2147483670" r:id="rId19"/>
    <p:sldLayoutId id="2147483671" r:id="rId20"/>
    <p:sldLayoutId id="2147483672" r:id="rId21"/>
    <p:sldLayoutId id="2147483673" r:id="rId22"/>
    <p:sldLayoutId id="2147483674" r:id="rId23"/>
    <p:sldLayoutId id="2147483675" r:id="rId24"/>
    <p:sldLayoutId id="2147483676" r:id="rId25"/>
    <p:sldLayoutId id="2147483677" r:id="rId26"/>
    <p:sldLayoutId id="2147483678" r:id="rId27"/>
    <p:sldLayoutId id="2147483679" r:id="rId28"/>
    <p:sldLayoutId id="2147483680" r:id="rId29"/>
    <p:sldLayoutId id="2147483681" r:id="rId30"/>
    <p:sldLayoutId id="2147483682" r:id="rId31"/>
    <p:sldLayoutId id="2147483683" r:id="rId32"/>
    <p:sldLayoutId id="2147483684" r:id="rId33"/>
    <p:sldLayoutId id="2147483685" r:id="rId34"/>
    <p:sldLayoutId id="2147483686" r:id="rId35"/>
    <p:sldLayoutId id="2147483687" r:id="rId3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C470523-E885-4448-A948-77950C7726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6320" y="365125"/>
            <a:ext cx="1127936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25A7B8-D13A-4722-99F5-C9EDA56249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6320" y="1905000"/>
            <a:ext cx="11279360" cy="42723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940DEE1-6957-4EB7-A620-9D15CDC69E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6321" y="6355954"/>
            <a:ext cx="411403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70">
                <a:solidFill>
                  <a:srgbClr val="474C55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 err="1"/>
              <a:t>Avēsis</a:t>
            </a:r>
            <a:r>
              <a:rPr lang="en-US" dirty="0"/>
              <a:t> | SDLC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BCCA6F49-B0CE-4227-86E3-EE33A99E00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93636" y="6355954"/>
            <a:ext cx="2742045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70">
                <a:solidFill>
                  <a:srgbClr val="474C55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FC3CC161-539E-43A5-8E1F-879DEB8E4EA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6509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</p:sldLayoutIdLst>
  <p:hf hdr="0" dt="0"/>
  <p:txStyles>
    <p:titleStyle>
      <a:lvl1pPr algn="ctr" defTabSz="1108344" rtl="0" eaLnBrk="1" latinLnBrk="0" hangingPunct="1">
        <a:lnSpc>
          <a:spcPct val="90000"/>
        </a:lnSpc>
        <a:spcBef>
          <a:spcPct val="0"/>
        </a:spcBef>
        <a:buNone/>
        <a:defRPr sz="4364" b="1" kern="1200" cap="all" baseline="0">
          <a:solidFill>
            <a:srgbClr val="003963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277086" indent="-277086" algn="l" defTabSz="1108344" rtl="0" eaLnBrk="1" latinLnBrk="0" hangingPunct="1">
        <a:lnSpc>
          <a:spcPct val="100000"/>
        </a:lnSpc>
        <a:spcBef>
          <a:spcPts val="1212"/>
        </a:spcBef>
        <a:buFont typeface="Arial" panose="020B0604020202020204" pitchFamily="34" charset="0"/>
        <a:buChar char="•"/>
        <a:defRPr sz="2424" kern="1200">
          <a:solidFill>
            <a:srgbClr val="474C55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831258" indent="-277086" algn="l" defTabSz="1108344" rtl="0" eaLnBrk="1" latinLnBrk="0" hangingPunct="1">
        <a:lnSpc>
          <a:spcPct val="100000"/>
        </a:lnSpc>
        <a:spcBef>
          <a:spcPts val="606"/>
        </a:spcBef>
        <a:buFont typeface="Arial" panose="020B0604020202020204" pitchFamily="34" charset="0"/>
        <a:buChar char="•"/>
        <a:defRPr sz="2182" kern="1200">
          <a:solidFill>
            <a:srgbClr val="474C55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1385430" indent="-277086" algn="l" defTabSz="1108344" rtl="0" eaLnBrk="1" latinLnBrk="0" hangingPunct="1">
        <a:lnSpc>
          <a:spcPct val="100000"/>
        </a:lnSpc>
        <a:spcBef>
          <a:spcPts val="606"/>
        </a:spcBef>
        <a:buFont typeface="Arial" panose="020B0604020202020204" pitchFamily="34" charset="0"/>
        <a:buChar char="•"/>
        <a:defRPr sz="1939" kern="1200">
          <a:solidFill>
            <a:srgbClr val="474C55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1939602" indent="-277086" algn="l" defTabSz="1108344" rtl="0" eaLnBrk="1" latinLnBrk="0" hangingPunct="1">
        <a:lnSpc>
          <a:spcPct val="100000"/>
        </a:lnSpc>
        <a:spcBef>
          <a:spcPts val="606"/>
        </a:spcBef>
        <a:buFont typeface="Arial" panose="020B0604020202020204" pitchFamily="34" charset="0"/>
        <a:buChar char="•"/>
        <a:defRPr sz="1697" kern="1200">
          <a:solidFill>
            <a:srgbClr val="474C55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2493775" indent="-277086" algn="l" defTabSz="1108344" rtl="0" eaLnBrk="1" latinLnBrk="0" hangingPunct="1">
        <a:lnSpc>
          <a:spcPct val="100000"/>
        </a:lnSpc>
        <a:spcBef>
          <a:spcPts val="606"/>
        </a:spcBef>
        <a:buFont typeface="Arial" panose="020B0604020202020204" pitchFamily="34" charset="0"/>
        <a:buChar char="•"/>
        <a:defRPr sz="1455" kern="1200">
          <a:solidFill>
            <a:srgbClr val="474C55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3047947" indent="-277086" algn="l" defTabSz="1108344" rtl="0" eaLnBrk="1" latinLnBrk="0" hangingPunct="1">
        <a:lnSpc>
          <a:spcPct val="90000"/>
        </a:lnSpc>
        <a:spcBef>
          <a:spcPts val="606"/>
        </a:spcBef>
        <a:buFont typeface="Arial" panose="020B0604020202020204" pitchFamily="34" charset="0"/>
        <a:buChar char="•"/>
        <a:defRPr sz="2182" kern="1200">
          <a:solidFill>
            <a:schemeClr val="tx1"/>
          </a:solidFill>
          <a:latin typeface="+mn-lt"/>
          <a:ea typeface="+mn-ea"/>
          <a:cs typeface="+mn-cs"/>
        </a:defRPr>
      </a:lvl6pPr>
      <a:lvl7pPr marL="3602119" indent="-277086" algn="l" defTabSz="1108344" rtl="0" eaLnBrk="1" latinLnBrk="0" hangingPunct="1">
        <a:lnSpc>
          <a:spcPct val="90000"/>
        </a:lnSpc>
        <a:spcBef>
          <a:spcPts val="606"/>
        </a:spcBef>
        <a:buFont typeface="Arial" panose="020B0604020202020204" pitchFamily="34" charset="0"/>
        <a:buChar char="•"/>
        <a:defRPr sz="2182" kern="1200">
          <a:solidFill>
            <a:schemeClr val="tx1"/>
          </a:solidFill>
          <a:latin typeface="+mn-lt"/>
          <a:ea typeface="+mn-ea"/>
          <a:cs typeface="+mn-cs"/>
        </a:defRPr>
      </a:lvl7pPr>
      <a:lvl8pPr marL="4156291" indent="-277086" algn="l" defTabSz="1108344" rtl="0" eaLnBrk="1" latinLnBrk="0" hangingPunct="1">
        <a:lnSpc>
          <a:spcPct val="90000"/>
        </a:lnSpc>
        <a:spcBef>
          <a:spcPts val="606"/>
        </a:spcBef>
        <a:buFont typeface="Arial" panose="020B0604020202020204" pitchFamily="34" charset="0"/>
        <a:buChar char="•"/>
        <a:defRPr sz="2182" kern="1200">
          <a:solidFill>
            <a:schemeClr val="tx1"/>
          </a:solidFill>
          <a:latin typeface="+mn-lt"/>
          <a:ea typeface="+mn-ea"/>
          <a:cs typeface="+mn-cs"/>
        </a:defRPr>
      </a:lvl8pPr>
      <a:lvl9pPr marL="4710463" indent="-277086" algn="l" defTabSz="1108344" rtl="0" eaLnBrk="1" latinLnBrk="0" hangingPunct="1">
        <a:lnSpc>
          <a:spcPct val="90000"/>
        </a:lnSpc>
        <a:spcBef>
          <a:spcPts val="606"/>
        </a:spcBef>
        <a:buFont typeface="Arial" panose="020B0604020202020204" pitchFamily="34" charset="0"/>
        <a:buChar char="•"/>
        <a:defRPr sz="218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08344" rtl="0" eaLnBrk="1" latinLnBrk="0" hangingPunct="1">
        <a:defRPr sz="2182" kern="1200">
          <a:solidFill>
            <a:schemeClr val="tx1"/>
          </a:solidFill>
          <a:latin typeface="+mn-lt"/>
          <a:ea typeface="+mn-ea"/>
          <a:cs typeface="+mn-cs"/>
        </a:defRPr>
      </a:lvl1pPr>
      <a:lvl2pPr marL="554172" algn="l" defTabSz="1108344" rtl="0" eaLnBrk="1" latinLnBrk="0" hangingPunct="1">
        <a:defRPr sz="2182" kern="1200">
          <a:solidFill>
            <a:schemeClr val="tx1"/>
          </a:solidFill>
          <a:latin typeface="+mn-lt"/>
          <a:ea typeface="+mn-ea"/>
          <a:cs typeface="+mn-cs"/>
        </a:defRPr>
      </a:lvl2pPr>
      <a:lvl3pPr marL="1108344" algn="l" defTabSz="1108344" rtl="0" eaLnBrk="1" latinLnBrk="0" hangingPunct="1">
        <a:defRPr sz="2182" kern="1200">
          <a:solidFill>
            <a:schemeClr val="tx1"/>
          </a:solidFill>
          <a:latin typeface="+mn-lt"/>
          <a:ea typeface="+mn-ea"/>
          <a:cs typeface="+mn-cs"/>
        </a:defRPr>
      </a:lvl3pPr>
      <a:lvl4pPr marL="1662516" algn="l" defTabSz="1108344" rtl="0" eaLnBrk="1" latinLnBrk="0" hangingPunct="1">
        <a:defRPr sz="2182" kern="1200">
          <a:solidFill>
            <a:schemeClr val="tx1"/>
          </a:solidFill>
          <a:latin typeface="+mn-lt"/>
          <a:ea typeface="+mn-ea"/>
          <a:cs typeface="+mn-cs"/>
        </a:defRPr>
      </a:lvl4pPr>
      <a:lvl5pPr marL="2216688" algn="l" defTabSz="1108344" rtl="0" eaLnBrk="1" latinLnBrk="0" hangingPunct="1">
        <a:defRPr sz="2182" kern="1200">
          <a:solidFill>
            <a:schemeClr val="tx1"/>
          </a:solidFill>
          <a:latin typeface="+mn-lt"/>
          <a:ea typeface="+mn-ea"/>
          <a:cs typeface="+mn-cs"/>
        </a:defRPr>
      </a:lvl5pPr>
      <a:lvl6pPr marL="2770861" algn="l" defTabSz="1108344" rtl="0" eaLnBrk="1" latinLnBrk="0" hangingPunct="1">
        <a:defRPr sz="2182" kern="1200">
          <a:solidFill>
            <a:schemeClr val="tx1"/>
          </a:solidFill>
          <a:latin typeface="+mn-lt"/>
          <a:ea typeface="+mn-ea"/>
          <a:cs typeface="+mn-cs"/>
        </a:defRPr>
      </a:lvl6pPr>
      <a:lvl7pPr marL="3325033" algn="l" defTabSz="1108344" rtl="0" eaLnBrk="1" latinLnBrk="0" hangingPunct="1">
        <a:defRPr sz="2182" kern="1200">
          <a:solidFill>
            <a:schemeClr val="tx1"/>
          </a:solidFill>
          <a:latin typeface="+mn-lt"/>
          <a:ea typeface="+mn-ea"/>
          <a:cs typeface="+mn-cs"/>
        </a:defRPr>
      </a:lvl7pPr>
      <a:lvl8pPr marL="3879205" algn="l" defTabSz="1108344" rtl="0" eaLnBrk="1" latinLnBrk="0" hangingPunct="1">
        <a:defRPr sz="2182" kern="1200">
          <a:solidFill>
            <a:schemeClr val="tx1"/>
          </a:solidFill>
          <a:latin typeface="+mn-lt"/>
          <a:ea typeface="+mn-ea"/>
          <a:cs typeface="+mn-cs"/>
        </a:defRPr>
      </a:lvl8pPr>
      <a:lvl9pPr marL="4433377" algn="l" defTabSz="1108344" rtl="0" eaLnBrk="1" latinLnBrk="0" hangingPunct="1">
        <a:defRPr sz="218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C470523-E885-4448-A948-77950C7726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6320" y="365125"/>
            <a:ext cx="1127936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25A7B8-D13A-4722-99F5-C9EDA56249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6320" y="2667000"/>
            <a:ext cx="11279360" cy="35103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10">
            <a:extLst>
              <a:ext uri="{FF2B5EF4-FFF2-40B4-BE49-F238E27FC236}">
                <a16:creationId xmlns:a16="http://schemas.microsoft.com/office/drawing/2014/main" id="{B0F2BDE1-FB1C-46A5-8780-990C2BB1D2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6321" y="6355954"/>
            <a:ext cx="411403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70">
                <a:solidFill>
                  <a:srgbClr val="474C55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 err="1"/>
              <a:t>Avēsis</a:t>
            </a:r>
            <a:r>
              <a:rPr lang="en-US" dirty="0"/>
              <a:t> | SDLC</a:t>
            </a:r>
          </a:p>
        </p:txBody>
      </p:sp>
      <p:sp>
        <p:nvSpPr>
          <p:cNvPr id="7" name="Slide Number Placeholder 11">
            <a:extLst>
              <a:ext uri="{FF2B5EF4-FFF2-40B4-BE49-F238E27FC236}">
                <a16:creationId xmlns:a16="http://schemas.microsoft.com/office/drawing/2014/main" id="{C758E26A-E483-47B3-A11B-524191D0E4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93636" y="6355954"/>
            <a:ext cx="2742045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70">
                <a:solidFill>
                  <a:srgbClr val="474C55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FC3CC161-539E-43A5-8E1F-879DEB8E4EA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2790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</p:sldLayoutIdLst>
  <p:hf hdr="0" dt="0"/>
  <p:txStyles>
    <p:titleStyle>
      <a:lvl1pPr algn="ctr" defTabSz="1108344" rtl="0" eaLnBrk="1" latinLnBrk="0" hangingPunct="1">
        <a:lnSpc>
          <a:spcPct val="90000"/>
        </a:lnSpc>
        <a:spcBef>
          <a:spcPct val="0"/>
        </a:spcBef>
        <a:buNone/>
        <a:defRPr sz="4364" b="1" kern="1200" cap="all" baseline="0">
          <a:solidFill>
            <a:srgbClr val="003963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277086" indent="-277086" algn="l" defTabSz="1108344" rtl="0" eaLnBrk="1" latinLnBrk="0" hangingPunct="1">
        <a:lnSpc>
          <a:spcPct val="100000"/>
        </a:lnSpc>
        <a:spcBef>
          <a:spcPts val="1212"/>
        </a:spcBef>
        <a:buFont typeface="Arial" panose="020B0604020202020204" pitchFamily="34" charset="0"/>
        <a:buChar char="•"/>
        <a:defRPr sz="1697" kern="1200">
          <a:solidFill>
            <a:srgbClr val="474C55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831258" indent="-277086" algn="l" defTabSz="1108344" rtl="0" eaLnBrk="1" latinLnBrk="0" hangingPunct="1">
        <a:lnSpc>
          <a:spcPct val="100000"/>
        </a:lnSpc>
        <a:spcBef>
          <a:spcPts val="606"/>
        </a:spcBef>
        <a:buFont typeface="Arial" panose="020B0604020202020204" pitchFamily="34" charset="0"/>
        <a:buChar char="•"/>
        <a:defRPr sz="1455" kern="1200">
          <a:solidFill>
            <a:srgbClr val="474C55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1385430" indent="-277086" algn="l" defTabSz="1108344" rtl="0" eaLnBrk="1" latinLnBrk="0" hangingPunct="1">
        <a:lnSpc>
          <a:spcPct val="100000"/>
        </a:lnSpc>
        <a:spcBef>
          <a:spcPts val="606"/>
        </a:spcBef>
        <a:buFont typeface="Arial" panose="020B0604020202020204" pitchFamily="34" charset="0"/>
        <a:buChar char="•"/>
        <a:defRPr sz="1333" kern="1200">
          <a:solidFill>
            <a:srgbClr val="474C55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1939602" indent="-277086" algn="l" defTabSz="1108344" rtl="0" eaLnBrk="1" latinLnBrk="0" hangingPunct="1">
        <a:lnSpc>
          <a:spcPct val="100000"/>
        </a:lnSpc>
        <a:spcBef>
          <a:spcPts val="606"/>
        </a:spcBef>
        <a:buFont typeface="Arial" panose="020B0604020202020204" pitchFamily="34" charset="0"/>
        <a:buChar char="•"/>
        <a:defRPr sz="1273" kern="1200">
          <a:solidFill>
            <a:srgbClr val="474C55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2493775" indent="-277086" algn="l" defTabSz="1108344" rtl="0" eaLnBrk="1" latinLnBrk="0" hangingPunct="1">
        <a:lnSpc>
          <a:spcPct val="100000"/>
        </a:lnSpc>
        <a:spcBef>
          <a:spcPts val="606"/>
        </a:spcBef>
        <a:buFont typeface="Arial" panose="020B0604020202020204" pitchFamily="34" charset="0"/>
        <a:buChar char="•"/>
        <a:defRPr sz="1212" kern="1200">
          <a:solidFill>
            <a:srgbClr val="474C55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3047947" indent="-277086" algn="l" defTabSz="1108344" rtl="0" eaLnBrk="1" latinLnBrk="0" hangingPunct="1">
        <a:lnSpc>
          <a:spcPct val="90000"/>
        </a:lnSpc>
        <a:spcBef>
          <a:spcPts val="606"/>
        </a:spcBef>
        <a:buFont typeface="Arial" panose="020B0604020202020204" pitchFamily="34" charset="0"/>
        <a:buChar char="•"/>
        <a:defRPr sz="2182" kern="1200">
          <a:solidFill>
            <a:schemeClr val="tx1"/>
          </a:solidFill>
          <a:latin typeface="+mn-lt"/>
          <a:ea typeface="+mn-ea"/>
          <a:cs typeface="+mn-cs"/>
        </a:defRPr>
      </a:lvl6pPr>
      <a:lvl7pPr marL="3602119" indent="-277086" algn="l" defTabSz="1108344" rtl="0" eaLnBrk="1" latinLnBrk="0" hangingPunct="1">
        <a:lnSpc>
          <a:spcPct val="90000"/>
        </a:lnSpc>
        <a:spcBef>
          <a:spcPts val="606"/>
        </a:spcBef>
        <a:buFont typeface="Arial" panose="020B0604020202020204" pitchFamily="34" charset="0"/>
        <a:buChar char="•"/>
        <a:defRPr sz="2182" kern="1200">
          <a:solidFill>
            <a:schemeClr val="tx1"/>
          </a:solidFill>
          <a:latin typeface="+mn-lt"/>
          <a:ea typeface="+mn-ea"/>
          <a:cs typeface="+mn-cs"/>
        </a:defRPr>
      </a:lvl7pPr>
      <a:lvl8pPr marL="4156291" indent="-277086" algn="l" defTabSz="1108344" rtl="0" eaLnBrk="1" latinLnBrk="0" hangingPunct="1">
        <a:lnSpc>
          <a:spcPct val="90000"/>
        </a:lnSpc>
        <a:spcBef>
          <a:spcPts val="606"/>
        </a:spcBef>
        <a:buFont typeface="Arial" panose="020B0604020202020204" pitchFamily="34" charset="0"/>
        <a:buChar char="•"/>
        <a:defRPr sz="2182" kern="1200">
          <a:solidFill>
            <a:schemeClr val="tx1"/>
          </a:solidFill>
          <a:latin typeface="+mn-lt"/>
          <a:ea typeface="+mn-ea"/>
          <a:cs typeface="+mn-cs"/>
        </a:defRPr>
      </a:lvl8pPr>
      <a:lvl9pPr marL="4710463" indent="-277086" algn="l" defTabSz="1108344" rtl="0" eaLnBrk="1" latinLnBrk="0" hangingPunct="1">
        <a:lnSpc>
          <a:spcPct val="90000"/>
        </a:lnSpc>
        <a:spcBef>
          <a:spcPts val="606"/>
        </a:spcBef>
        <a:buFont typeface="Arial" panose="020B0604020202020204" pitchFamily="34" charset="0"/>
        <a:buChar char="•"/>
        <a:defRPr sz="218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08344" rtl="0" eaLnBrk="1" latinLnBrk="0" hangingPunct="1">
        <a:defRPr sz="2182" kern="1200">
          <a:solidFill>
            <a:schemeClr val="tx1"/>
          </a:solidFill>
          <a:latin typeface="+mn-lt"/>
          <a:ea typeface="+mn-ea"/>
          <a:cs typeface="+mn-cs"/>
        </a:defRPr>
      </a:lvl1pPr>
      <a:lvl2pPr marL="554172" algn="l" defTabSz="1108344" rtl="0" eaLnBrk="1" latinLnBrk="0" hangingPunct="1">
        <a:defRPr sz="2182" kern="1200">
          <a:solidFill>
            <a:schemeClr val="tx1"/>
          </a:solidFill>
          <a:latin typeface="+mn-lt"/>
          <a:ea typeface="+mn-ea"/>
          <a:cs typeface="+mn-cs"/>
        </a:defRPr>
      </a:lvl2pPr>
      <a:lvl3pPr marL="1108344" algn="l" defTabSz="1108344" rtl="0" eaLnBrk="1" latinLnBrk="0" hangingPunct="1">
        <a:defRPr sz="2182" kern="1200">
          <a:solidFill>
            <a:schemeClr val="tx1"/>
          </a:solidFill>
          <a:latin typeface="+mn-lt"/>
          <a:ea typeface="+mn-ea"/>
          <a:cs typeface="+mn-cs"/>
        </a:defRPr>
      </a:lvl3pPr>
      <a:lvl4pPr marL="1662516" algn="l" defTabSz="1108344" rtl="0" eaLnBrk="1" latinLnBrk="0" hangingPunct="1">
        <a:defRPr sz="2182" kern="1200">
          <a:solidFill>
            <a:schemeClr val="tx1"/>
          </a:solidFill>
          <a:latin typeface="+mn-lt"/>
          <a:ea typeface="+mn-ea"/>
          <a:cs typeface="+mn-cs"/>
        </a:defRPr>
      </a:lvl4pPr>
      <a:lvl5pPr marL="2216688" algn="l" defTabSz="1108344" rtl="0" eaLnBrk="1" latinLnBrk="0" hangingPunct="1">
        <a:defRPr sz="2182" kern="1200">
          <a:solidFill>
            <a:schemeClr val="tx1"/>
          </a:solidFill>
          <a:latin typeface="+mn-lt"/>
          <a:ea typeface="+mn-ea"/>
          <a:cs typeface="+mn-cs"/>
        </a:defRPr>
      </a:lvl5pPr>
      <a:lvl6pPr marL="2770861" algn="l" defTabSz="1108344" rtl="0" eaLnBrk="1" latinLnBrk="0" hangingPunct="1">
        <a:defRPr sz="2182" kern="1200">
          <a:solidFill>
            <a:schemeClr val="tx1"/>
          </a:solidFill>
          <a:latin typeface="+mn-lt"/>
          <a:ea typeface="+mn-ea"/>
          <a:cs typeface="+mn-cs"/>
        </a:defRPr>
      </a:lvl6pPr>
      <a:lvl7pPr marL="3325033" algn="l" defTabSz="1108344" rtl="0" eaLnBrk="1" latinLnBrk="0" hangingPunct="1">
        <a:defRPr sz="2182" kern="1200">
          <a:solidFill>
            <a:schemeClr val="tx1"/>
          </a:solidFill>
          <a:latin typeface="+mn-lt"/>
          <a:ea typeface="+mn-ea"/>
          <a:cs typeface="+mn-cs"/>
        </a:defRPr>
      </a:lvl7pPr>
      <a:lvl8pPr marL="3879205" algn="l" defTabSz="1108344" rtl="0" eaLnBrk="1" latinLnBrk="0" hangingPunct="1">
        <a:defRPr sz="2182" kern="1200">
          <a:solidFill>
            <a:schemeClr val="tx1"/>
          </a:solidFill>
          <a:latin typeface="+mn-lt"/>
          <a:ea typeface="+mn-ea"/>
          <a:cs typeface="+mn-cs"/>
        </a:defRPr>
      </a:lvl8pPr>
      <a:lvl9pPr marL="4433377" algn="l" defTabSz="1108344" rtl="0" eaLnBrk="1" latinLnBrk="0" hangingPunct="1">
        <a:defRPr sz="218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C470523-E885-4448-A948-77950C7726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6320" y="365125"/>
            <a:ext cx="1127936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25A7B8-D13A-4722-99F5-C9EDA56249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6320" y="2667000"/>
            <a:ext cx="11279360" cy="35103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9914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</p:sldLayoutIdLst>
  <p:hf hdr="0" dt="0"/>
  <p:txStyles>
    <p:titleStyle>
      <a:lvl1pPr algn="ctr" defTabSz="1108344" rtl="0" eaLnBrk="1" latinLnBrk="0" hangingPunct="1">
        <a:lnSpc>
          <a:spcPct val="90000"/>
        </a:lnSpc>
        <a:spcBef>
          <a:spcPct val="0"/>
        </a:spcBef>
        <a:buNone/>
        <a:defRPr sz="4364" b="1" kern="1200" cap="all" baseline="0">
          <a:solidFill>
            <a:srgbClr val="003963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277086" indent="-277086" algn="l" defTabSz="1108344" rtl="0" eaLnBrk="1" latinLnBrk="0" hangingPunct="1">
        <a:lnSpc>
          <a:spcPct val="100000"/>
        </a:lnSpc>
        <a:spcBef>
          <a:spcPts val="1212"/>
        </a:spcBef>
        <a:buFont typeface="Arial" panose="020B0604020202020204" pitchFamily="34" charset="0"/>
        <a:buChar char="•"/>
        <a:defRPr sz="2424" kern="1200">
          <a:solidFill>
            <a:srgbClr val="474C55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831258" indent="-277086" algn="l" defTabSz="1108344" rtl="0" eaLnBrk="1" latinLnBrk="0" hangingPunct="1">
        <a:lnSpc>
          <a:spcPct val="100000"/>
        </a:lnSpc>
        <a:spcBef>
          <a:spcPts val="606"/>
        </a:spcBef>
        <a:buFont typeface="Arial" panose="020B0604020202020204" pitchFamily="34" charset="0"/>
        <a:buChar char="•"/>
        <a:defRPr sz="2182" kern="1200">
          <a:solidFill>
            <a:srgbClr val="474C55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1385430" indent="-277086" algn="l" defTabSz="1108344" rtl="0" eaLnBrk="1" latinLnBrk="0" hangingPunct="1">
        <a:lnSpc>
          <a:spcPct val="100000"/>
        </a:lnSpc>
        <a:spcBef>
          <a:spcPts val="606"/>
        </a:spcBef>
        <a:buFont typeface="Arial" panose="020B0604020202020204" pitchFamily="34" charset="0"/>
        <a:buChar char="•"/>
        <a:defRPr sz="1939" kern="1200">
          <a:solidFill>
            <a:srgbClr val="474C55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1939602" indent="-277086" algn="l" defTabSz="1108344" rtl="0" eaLnBrk="1" latinLnBrk="0" hangingPunct="1">
        <a:lnSpc>
          <a:spcPct val="100000"/>
        </a:lnSpc>
        <a:spcBef>
          <a:spcPts val="606"/>
        </a:spcBef>
        <a:buFont typeface="Arial" panose="020B0604020202020204" pitchFamily="34" charset="0"/>
        <a:buChar char="•"/>
        <a:defRPr sz="1697" kern="1200">
          <a:solidFill>
            <a:srgbClr val="474C55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2493775" indent="-277086" algn="l" defTabSz="1108344" rtl="0" eaLnBrk="1" latinLnBrk="0" hangingPunct="1">
        <a:lnSpc>
          <a:spcPct val="100000"/>
        </a:lnSpc>
        <a:spcBef>
          <a:spcPts val="606"/>
        </a:spcBef>
        <a:buFont typeface="Arial" panose="020B0604020202020204" pitchFamily="34" charset="0"/>
        <a:buChar char="•"/>
        <a:defRPr sz="1455" kern="1200">
          <a:solidFill>
            <a:srgbClr val="474C55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3047947" indent="-277086" algn="l" defTabSz="1108344" rtl="0" eaLnBrk="1" latinLnBrk="0" hangingPunct="1">
        <a:lnSpc>
          <a:spcPct val="90000"/>
        </a:lnSpc>
        <a:spcBef>
          <a:spcPts val="606"/>
        </a:spcBef>
        <a:buFont typeface="Arial" panose="020B0604020202020204" pitchFamily="34" charset="0"/>
        <a:buChar char="•"/>
        <a:defRPr sz="2182" kern="1200">
          <a:solidFill>
            <a:schemeClr val="tx1"/>
          </a:solidFill>
          <a:latin typeface="+mn-lt"/>
          <a:ea typeface="+mn-ea"/>
          <a:cs typeface="+mn-cs"/>
        </a:defRPr>
      </a:lvl6pPr>
      <a:lvl7pPr marL="3602119" indent="-277086" algn="l" defTabSz="1108344" rtl="0" eaLnBrk="1" latinLnBrk="0" hangingPunct="1">
        <a:lnSpc>
          <a:spcPct val="90000"/>
        </a:lnSpc>
        <a:spcBef>
          <a:spcPts val="606"/>
        </a:spcBef>
        <a:buFont typeface="Arial" panose="020B0604020202020204" pitchFamily="34" charset="0"/>
        <a:buChar char="•"/>
        <a:defRPr sz="2182" kern="1200">
          <a:solidFill>
            <a:schemeClr val="tx1"/>
          </a:solidFill>
          <a:latin typeface="+mn-lt"/>
          <a:ea typeface="+mn-ea"/>
          <a:cs typeface="+mn-cs"/>
        </a:defRPr>
      </a:lvl7pPr>
      <a:lvl8pPr marL="4156291" indent="-277086" algn="l" defTabSz="1108344" rtl="0" eaLnBrk="1" latinLnBrk="0" hangingPunct="1">
        <a:lnSpc>
          <a:spcPct val="90000"/>
        </a:lnSpc>
        <a:spcBef>
          <a:spcPts val="606"/>
        </a:spcBef>
        <a:buFont typeface="Arial" panose="020B0604020202020204" pitchFamily="34" charset="0"/>
        <a:buChar char="•"/>
        <a:defRPr sz="2182" kern="1200">
          <a:solidFill>
            <a:schemeClr val="tx1"/>
          </a:solidFill>
          <a:latin typeface="+mn-lt"/>
          <a:ea typeface="+mn-ea"/>
          <a:cs typeface="+mn-cs"/>
        </a:defRPr>
      </a:lvl8pPr>
      <a:lvl9pPr marL="4710463" indent="-277086" algn="l" defTabSz="1108344" rtl="0" eaLnBrk="1" latinLnBrk="0" hangingPunct="1">
        <a:lnSpc>
          <a:spcPct val="90000"/>
        </a:lnSpc>
        <a:spcBef>
          <a:spcPts val="606"/>
        </a:spcBef>
        <a:buFont typeface="Arial" panose="020B0604020202020204" pitchFamily="34" charset="0"/>
        <a:buChar char="•"/>
        <a:defRPr sz="218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08344" rtl="0" eaLnBrk="1" latinLnBrk="0" hangingPunct="1">
        <a:defRPr sz="2182" kern="1200">
          <a:solidFill>
            <a:schemeClr val="tx1"/>
          </a:solidFill>
          <a:latin typeface="+mn-lt"/>
          <a:ea typeface="+mn-ea"/>
          <a:cs typeface="+mn-cs"/>
        </a:defRPr>
      </a:lvl1pPr>
      <a:lvl2pPr marL="554172" algn="l" defTabSz="1108344" rtl="0" eaLnBrk="1" latinLnBrk="0" hangingPunct="1">
        <a:defRPr sz="2182" kern="1200">
          <a:solidFill>
            <a:schemeClr val="tx1"/>
          </a:solidFill>
          <a:latin typeface="+mn-lt"/>
          <a:ea typeface="+mn-ea"/>
          <a:cs typeface="+mn-cs"/>
        </a:defRPr>
      </a:lvl2pPr>
      <a:lvl3pPr marL="1108344" algn="l" defTabSz="1108344" rtl="0" eaLnBrk="1" latinLnBrk="0" hangingPunct="1">
        <a:defRPr sz="2182" kern="1200">
          <a:solidFill>
            <a:schemeClr val="tx1"/>
          </a:solidFill>
          <a:latin typeface="+mn-lt"/>
          <a:ea typeface="+mn-ea"/>
          <a:cs typeface="+mn-cs"/>
        </a:defRPr>
      </a:lvl3pPr>
      <a:lvl4pPr marL="1662516" algn="l" defTabSz="1108344" rtl="0" eaLnBrk="1" latinLnBrk="0" hangingPunct="1">
        <a:defRPr sz="2182" kern="1200">
          <a:solidFill>
            <a:schemeClr val="tx1"/>
          </a:solidFill>
          <a:latin typeface="+mn-lt"/>
          <a:ea typeface="+mn-ea"/>
          <a:cs typeface="+mn-cs"/>
        </a:defRPr>
      </a:lvl4pPr>
      <a:lvl5pPr marL="2216688" algn="l" defTabSz="1108344" rtl="0" eaLnBrk="1" latinLnBrk="0" hangingPunct="1">
        <a:defRPr sz="2182" kern="1200">
          <a:solidFill>
            <a:schemeClr val="tx1"/>
          </a:solidFill>
          <a:latin typeface="+mn-lt"/>
          <a:ea typeface="+mn-ea"/>
          <a:cs typeface="+mn-cs"/>
        </a:defRPr>
      </a:lvl5pPr>
      <a:lvl6pPr marL="2770861" algn="l" defTabSz="1108344" rtl="0" eaLnBrk="1" latinLnBrk="0" hangingPunct="1">
        <a:defRPr sz="2182" kern="1200">
          <a:solidFill>
            <a:schemeClr val="tx1"/>
          </a:solidFill>
          <a:latin typeface="+mn-lt"/>
          <a:ea typeface="+mn-ea"/>
          <a:cs typeface="+mn-cs"/>
        </a:defRPr>
      </a:lvl6pPr>
      <a:lvl7pPr marL="3325033" algn="l" defTabSz="1108344" rtl="0" eaLnBrk="1" latinLnBrk="0" hangingPunct="1">
        <a:defRPr sz="2182" kern="1200">
          <a:solidFill>
            <a:schemeClr val="tx1"/>
          </a:solidFill>
          <a:latin typeface="+mn-lt"/>
          <a:ea typeface="+mn-ea"/>
          <a:cs typeface="+mn-cs"/>
        </a:defRPr>
      </a:lvl7pPr>
      <a:lvl8pPr marL="3879205" algn="l" defTabSz="1108344" rtl="0" eaLnBrk="1" latinLnBrk="0" hangingPunct="1">
        <a:defRPr sz="2182" kern="1200">
          <a:solidFill>
            <a:schemeClr val="tx1"/>
          </a:solidFill>
          <a:latin typeface="+mn-lt"/>
          <a:ea typeface="+mn-ea"/>
          <a:cs typeface="+mn-cs"/>
        </a:defRPr>
      </a:lvl8pPr>
      <a:lvl9pPr marL="4433377" algn="l" defTabSz="1108344" rtl="0" eaLnBrk="1" latinLnBrk="0" hangingPunct="1">
        <a:defRPr sz="218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8526144" cy="760372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6420" y="1854329"/>
            <a:ext cx="10785985" cy="4281001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 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4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4" t="25599" r="9369" b="25265"/>
          <a:stretch/>
        </p:blipFill>
        <p:spPr>
          <a:xfrm>
            <a:off x="353887" y="6459798"/>
            <a:ext cx="1314047" cy="232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82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  <p:sldLayoutId id="2147483728" r:id="rId17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000" b="1" i="0" kern="1200">
          <a:solidFill>
            <a:schemeClr val="tx1"/>
          </a:solidFill>
          <a:latin typeface="Georgia" charset="0"/>
          <a:ea typeface="Georgia" charset="0"/>
          <a:cs typeface="Georgia" charset="0"/>
        </a:defRPr>
      </a:lvl1pPr>
    </p:titleStyle>
    <p:bodyStyle>
      <a:lvl1pPr marL="0" indent="0" algn="l" defTabSz="685800" rtl="0" eaLnBrk="1" latinLnBrk="0" hangingPunct="1">
        <a:lnSpc>
          <a:spcPct val="140000"/>
        </a:lnSpc>
        <a:spcBef>
          <a:spcPts val="750"/>
        </a:spcBef>
        <a:buFont typeface="Arial"/>
        <a:buNone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130969" indent="-126206" algn="l" defTabSz="685800" rtl="0" eaLnBrk="1" latinLnBrk="0" hangingPunct="1">
        <a:lnSpc>
          <a:spcPct val="140000"/>
        </a:lnSpc>
        <a:spcBef>
          <a:spcPts val="375"/>
        </a:spcBef>
        <a:buFont typeface="Arial"/>
        <a:buChar char="•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302419" indent="-171450" algn="l" defTabSz="685800" rtl="0" eaLnBrk="1" latinLnBrk="0" hangingPunct="1">
        <a:lnSpc>
          <a:spcPct val="140000"/>
        </a:lnSpc>
        <a:spcBef>
          <a:spcPts val="375"/>
        </a:spcBef>
        <a:buFont typeface=".AppleSystemUIFont" charset="-120"/>
        <a:buChar char="−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428625" indent="-132160" algn="l" defTabSz="685800" rtl="0" eaLnBrk="1" latinLnBrk="0" hangingPunct="1">
        <a:lnSpc>
          <a:spcPct val="140000"/>
        </a:lnSpc>
        <a:spcBef>
          <a:spcPts val="375"/>
        </a:spcBef>
        <a:buFont typeface="Arial"/>
        <a:buChar char="•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560785" indent="-170260" algn="l" defTabSz="685800" rtl="0" eaLnBrk="1" latinLnBrk="0" hangingPunct="1">
        <a:lnSpc>
          <a:spcPct val="140000"/>
        </a:lnSpc>
        <a:spcBef>
          <a:spcPts val="375"/>
        </a:spcBef>
        <a:buFont typeface=".AppleSystemUIFont" charset="-120"/>
        <a:buChar char="−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27">
          <p15:clr>
            <a:srgbClr val="F26B43"/>
          </p15:clr>
        </p15:guide>
        <p15:guide id="2" pos="288">
          <p15:clr>
            <a:srgbClr val="F26B43"/>
          </p15:clr>
        </p15:guide>
        <p15:guide id="3" orient="horz" pos="1361">
          <p15:clr>
            <a:srgbClr val="F26B43"/>
          </p15:clr>
        </p15:guide>
        <p15:guide id="4" orient="horz" pos="4176">
          <p15:clr>
            <a:srgbClr val="F26B43"/>
          </p15:clr>
        </p15:guide>
        <p15:guide id="5" orient="horz" pos="1104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8526144" cy="760372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6420" y="1854329"/>
            <a:ext cx="10785985" cy="4281001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 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4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4" t="25599" r="9369" b="25265"/>
          <a:stretch/>
        </p:blipFill>
        <p:spPr>
          <a:xfrm>
            <a:off x="353887" y="6459798"/>
            <a:ext cx="1314047" cy="232944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4" t="25599" r="9369" b="25265"/>
          <a:stretch/>
        </p:blipFill>
        <p:spPr>
          <a:xfrm>
            <a:off x="353887" y="6459798"/>
            <a:ext cx="1314047" cy="232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692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41" r:id="rId12"/>
    <p:sldLayoutId id="2147483742" r:id="rId13"/>
    <p:sldLayoutId id="2147483743" r:id="rId14"/>
    <p:sldLayoutId id="2147483744" r:id="rId15"/>
    <p:sldLayoutId id="2147483745" r:id="rId16"/>
    <p:sldLayoutId id="2147483746" r:id="rId17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000" b="1" i="0" kern="1200">
          <a:solidFill>
            <a:schemeClr val="tx1"/>
          </a:solidFill>
          <a:latin typeface="Georgia" charset="0"/>
          <a:ea typeface="Georgia" charset="0"/>
          <a:cs typeface="Georgia" charset="0"/>
        </a:defRPr>
      </a:lvl1pPr>
    </p:titleStyle>
    <p:bodyStyle>
      <a:lvl1pPr marL="0" indent="0" algn="l" defTabSz="685800" rtl="0" eaLnBrk="1" latinLnBrk="0" hangingPunct="1">
        <a:lnSpc>
          <a:spcPct val="140000"/>
        </a:lnSpc>
        <a:spcBef>
          <a:spcPts val="750"/>
        </a:spcBef>
        <a:buFont typeface="Arial"/>
        <a:buNone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130969" indent="-126206" algn="l" defTabSz="685800" rtl="0" eaLnBrk="1" latinLnBrk="0" hangingPunct="1">
        <a:lnSpc>
          <a:spcPct val="140000"/>
        </a:lnSpc>
        <a:spcBef>
          <a:spcPts val="375"/>
        </a:spcBef>
        <a:buFont typeface="Arial"/>
        <a:buChar char="•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302419" indent="-171450" algn="l" defTabSz="685800" rtl="0" eaLnBrk="1" latinLnBrk="0" hangingPunct="1">
        <a:lnSpc>
          <a:spcPct val="140000"/>
        </a:lnSpc>
        <a:spcBef>
          <a:spcPts val="375"/>
        </a:spcBef>
        <a:buFont typeface=".AppleSystemUIFont" charset="-120"/>
        <a:buChar char="−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428625" indent="-132160" algn="l" defTabSz="685800" rtl="0" eaLnBrk="1" latinLnBrk="0" hangingPunct="1">
        <a:lnSpc>
          <a:spcPct val="140000"/>
        </a:lnSpc>
        <a:spcBef>
          <a:spcPts val="375"/>
        </a:spcBef>
        <a:buFont typeface="Arial"/>
        <a:buChar char="•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560785" indent="-170260" algn="l" defTabSz="685800" rtl="0" eaLnBrk="1" latinLnBrk="0" hangingPunct="1">
        <a:lnSpc>
          <a:spcPct val="140000"/>
        </a:lnSpc>
        <a:spcBef>
          <a:spcPts val="375"/>
        </a:spcBef>
        <a:buFont typeface=".AppleSystemUIFont" charset="-120"/>
        <a:buChar char="−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27">
          <p15:clr>
            <a:srgbClr val="F26B43"/>
          </p15:clr>
        </p15:guide>
        <p15:guide id="2" pos="288">
          <p15:clr>
            <a:srgbClr val="F26B43"/>
          </p15:clr>
        </p15:guide>
        <p15:guide id="3" orient="horz" pos="1361">
          <p15:clr>
            <a:srgbClr val="F26B43"/>
          </p15:clr>
        </p15:guide>
        <p15:guide id="4" orient="horz" pos="4176">
          <p15:clr>
            <a:srgbClr val="F26B43"/>
          </p15:clr>
        </p15:guide>
        <p15:guide id="5" orient="horz" pos="11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mailto:Benefits@LeeSchools.net" TargetMode="External"/><Relationship Id="rId2" Type="http://schemas.openxmlformats.org/officeDocument/2006/relationships/hyperlink" Target="http://www.leeschools.net/" TargetMode="Externa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7B8A21-6EF7-41B4-9DB2-060490F44E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6437" y="562073"/>
            <a:ext cx="10793691" cy="2852737"/>
          </a:xfrm>
        </p:spPr>
        <p:txBody>
          <a:bodyPr/>
          <a:lstStyle/>
          <a:p>
            <a:r>
              <a:rPr lang="en-US" sz="8000" dirty="0"/>
              <a:t>RETIREMENT SEMINA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A959A3-0951-4DE2-98D8-2EDE18564F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surance &amp; Benefits Presentation</a:t>
            </a:r>
          </a:p>
          <a:p>
            <a:r>
              <a:rPr lang="en-US" dirty="0"/>
              <a:t>February 8, 2023</a:t>
            </a:r>
          </a:p>
        </p:txBody>
      </p:sp>
    </p:spTree>
    <p:extLst>
      <p:ext uri="{BB962C8B-B14F-4D97-AF65-F5344CB8AC3E}">
        <p14:creationId xmlns:p14="http://schemas.microsoft.com/office/powerpoint/2010/main" val="29285282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1F51C9-6A55-415E-9354-720D20ABDD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dirty="0"/>
              <a:t>Vision Insurance Monthly Premiums</a:t>
            </a:r>
            <a:br>
              <a:rPr lang="en-US" dirty="0"/>
            </a:br>
            <a:r>
              <a:rPr lang="en-US" sz="3200" dirty="0"/>
              <a:t>Effective 4/1/2023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E2AF2D0-6321-4648-9906-5A3B87860A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3167608"/>
              </p:ext>
            </p:extLst>
          </p:nvPr>
        </p:nvGraphicFramePr>
        <p:xfrm>
          <a:off x="2127738" y="2294792"/>
          <a:ext cx="7174524" cy="2321171"/>
        </p:xfrm>
        <a:graphic>
          <a:graphicData uri="http://schemas.openxmlformats.org/drawingml/2006/table">
            <a:tbl>
              <a:tblPr/>
              <a:tblGrid>
                <a:gridCol w="3587262">
                  <a:extLst>
                    <a:ext uri="{9D8B030D-6E8A-4147-A177-3AD203B41FA5}">
                      <a16:colId xmlns:a16="http://schemas.microsoft.com/office/drawing/2014/main" val="2755081231"/>
                    </a:ext>
                  </a:extLst>
                </a:gridCol>
                <a:gridCol w="3587262">
                  <a:extLst>
                    <a:ext uri="{9D8B030D-6E8A-4147-A177-3AD203B41FA5}">
                      <a16:colId xmlns:a16="http://schemas.microsoft.com/office/drawing/2014/main" val="2329378006"/>
                    </a:ext>
                  </a:extLst>
                </a:gridCol>
              </a:tblGrid>
              <a:tr h="458563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rgbClr val="FFFFFF"/>
                          </a:solidFill>
                          <a:effectLst/>
                        </a:rPr>
                        <a:t>Tiers</a:t>
                      </a:r>
                      <a:endParaRPr lang="en-US" sz="120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80119" marR="80119" marT="40059" marB="4005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4367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rgbClr val="FFFFFF"/>
                          </a:solidFill>
                          <a:effectLst/>
                        </a:rPr>
                        <a:t>Vision</a:t>
                      </a:r>
                      <a:endParaRPr lang="en-US" sz="120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80119" marR="80119" marT="40059" marB="4005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436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322794"/>
                  </a:ext>
                </a:extLst>
              </a:tr>
              <a:tr h="465652"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Employee Only</a:t>
                      </a:r>
                    </a:p>
                  </a:txBody>
                  <a:tcPr marL="80119" marR="80119" marT="40059" marB="4005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$8.30</a:t>
                      </a:r>
                    </a:p>
                  </a:txBody>
                  <a:tcPr marL="80119" marR="80119" marT="40059" marB="4005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AF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3172411"/>
                  </a:ext>
                </a:extLst>
              </a:tr>
              <a:tr h="465652"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Employee / Spouse</a:t>
                      </a:r>
                    </a:p>
                  </a:txBody>
                  <a:tcPr marL="80119" marR="80119" marT="40059" marB="4005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$17.60</a:t>
                      </a:r>
                    </a:p>
                  </a:txBody>
                  <a:tcPr marL="80119" marR="80119" marT="40059" marB="4005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011355"/>
                  </a:ext>
                </a:extLst>
              </a:tr>
              <a:tr h="465652">
                <a:tc>
                  <a:txBody>
                    <a:bodyPr/>
                    <a:lstStyle/>
                    <a:p>
                      <a:pPr algn="l"/>
                      <a:r>
                        <a:rPr lang="en-US" sz="1200"/>
                        <a:t>Employee / Children</a:t>
                      </a:r>
                    </a:p>
                  </a:txBody>
                  <a:tcPr marL="80119" marR="80119" marT="40059" marB="4005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0E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$17.90</a:t>
                      </a:r>
                    </a:p>
                  </a:txBody>
                  <a:tcPr marL="80119" marR="80119" marT="40059" marB="4005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0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3486833"/>
                  </a:ext>
                </a:extLst>
              </a:tr>
              <a:tr h="465652"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Employee / Family</a:t>
                      </a:r>
                    </a:p>
                  </a:txBody>
                  <a:tcPr marL="80119" marR="80119" marT="40059" marB="4005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$30.00</a:t>
                      </a:r>
                    </a:p>
                  </a:txBody>
                  <a:tcPr marL="80119" marR="80119" marT="40059" marB="4005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20741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82677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4BA9E1-68F6-43F1-98C9-8BE185CCC1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ncer, Critical Illness, &amp; Accident Insuran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0927E6-26C5-406A-8099-583B236E4A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86453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3C2473F-D39E-43F9-947A-347132DFB2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ncer, Critical Illness, Acciden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EF94C1-580C-438A-B9C4-8AAF3C0CC5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l are offered through Allstate Benefits</a:t>
            </a:r>
          </a:p>
          <a:p>
            <a:pPr marL="114300" indent="0">
              <a:buNone/>
            </a:pPr>
            <a:endParaRPr lang="en-US" dirty="0"/>
          </a:p>
          <a:p>
            <a:r>
              <a:rPr lang="en-US" dirty="0"/>
              <a:t>To Continue, contact Allstate at 1800-521-3535 directly within 31 days of benefit termination.</a:t>
            </a:r>
          </a:p>
          <a:p>
            <a:pPr marL="114300" indent="0">
              <a:buNone/>
            </a:pPr>
            <a:endParaRPr lang="en-US" dirty="0"/>
          </a:p>
          <a:p>
            <a:r>
              <a:rPr lang="en-US" dirty="0"/>
              <a:t>Allstate will invoice you directly.</a:t>
            </a:r>
          </a:p>
          <a:p>
            <a:pPr marL="571500" lvl="1" indent="0">
              <a:buNone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78878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D933AD-4394-42F2-A486-FAF5FF87D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3477296"/>
            <a:ext cx="10515600" cy="1487510"/>
          </a:xfrm>
        </p:spPr>
        <p:txBody>
          <a:bodyPr/>
          <a:lstStyle/>
          <a:p>
            <a:r>
              <a:rPr lang="en-US" dirty="0"/>
              <a:t>Medical Insuran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878586-89FC-4343-BEC5-A049A87B8C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5474833"/>
            <a:ext cx="10515600" cy="556689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22718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9AACC0-7756-406D-901B-86F5AC1E1A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dical Insuran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ABDB8E-B7B2-4FC7-8B1B-6E1DA67C68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608993"/>
            <a:ext cx="10879318" cy="4756638"/>
          </a:xfrm>
        </p:spPr>
        <p:txBody>
          <a:bodyPr/>
          <a:lstStyle/>
          <a:p>
            <a:r>
              <a:rPr lang="en-US" sz="2000" dirty="0"/>
              <a:t>May continue your medical insurance for both you and any covered eligible dependents.  </a:t>
            </a:r>
          </a:p>
          <a:p>
            <a:r>
              <a:rPr lang="en-US" sz="2000" dirty="0"/>
              <a:t>If you elect not to enroll in medical as a Retiree </a:t>
            </a:r>
            <a:r>
              <a:rPr lang="en-US" sz="2000" b="1" u="sng" dirty="0"/>
              <a:t>OR</a:t>
            </a:r>
            <a:r>
              <a:rPr lang="en-US" sz="2000" dirty="0"/>
              <a:t> if you do elect medical and cancel at some point in the future, (</a:t>
            </a:r>
            <a:r>
              <a:rPr lang="en-US" sz="2000" dirty="0" err="1"/>
              <a:t>ie</a:t>
            </a:r>
            <a:r>
              <a:rPr lang="en-US" sz="2000" dirty="0"/>
              <a:t>. Open Enrollment), you </a:t>
            </a:r>
            <a:r>
              <a:rPr lang="en-US" sz="2000" b="1" dirty="0"/>
              <a:t>will not </a:t>
            </a:r>
            <a:r>
              <a:rPr lang="en-US" sz="2000" dirty="0"/>
              <a:t>be able to re-enroll at a later date. </a:t>
            </a:r>
          </a:p>
          <a:p>
            <a:r>
              <a:rPr lang="en-US" sz="2000" dirty="0"/>
              <a:t>Will receive a packet from Insurance &amp; Benefits with necessary forms to complete if wish to continue coverage upon Retirement</a:t>
            </a:r>
          </a:p>
          <a:p>
            <a:pPr lvl="2"/>
            <a:r>
              <a:rPr lang="en-US" sz="1600" dirty="0"/>
              <a:t>Retiree Enrollment Form</a:t>
            </a:r>
          </a:p>
          <a:p>
            <a:pPr lvl="2"/>
            <a:r>
              <a:rPr lang="en-US" sz="1600" dirty="0"/>
              <a:t>Florida Retirement System Insurance Payroll Authorization Form (</a:t>
            </a:r>
            <a:r>
              <a:rPr lang="en-US" sz="1600" i="1" dirty="0"/>
              <a:t>authorizes FRS to deduct medical insurance premiums directly from your retirement check</a:t>
            </a:r>
            <a:r>
              <a:rPr lang="en-US" sz="1600" dirty="0"/>
              <a:t>).</a:t>
            </a:r>
          </a:p>
          <a:p>
            <a:pPr lvl="2"/>
            <a:r>
              <a:rPr lang="en-US" sz="1600" dirty="0"/>
              <a:t> If your FRS benefit is not sufficient to cover your medical insurance premiums or you are retiring through the Investment Plan, the Insurance &amp; Benefits Management Department will set you up in our onsite billing system and invoice you on a monthly basis.</a:t>
            </a:r>
          </a:p>
          <a:p>
            <a:r>
              <a:rPr lang="en-US" sz="2000" dirty="0"/>
              <a:t>All forms must be returned to Insurance &amp; Benefits Management </a:t>
            </a:r>
            <a:r>
              <a:rPr lang="en-US" sz="2000" b="1" u="sng" dirty="0"/>
              <a:t>by the end of your  benefit termination date.</a:t>
            </a:r>
          </a:p>
          <a:p>
            <a:endParaRPr lang="en-US" sz="2400" dirty="0"/>
          </a:p>
          <a:p>
            <a:pPr marL="114300" indent="0">
              <a:buNone/>
            </a:pPr>
            <a:endParaRPr lang="en-US" sz="1600" dirty="0"/>
          </a:p>
          <a:p>
            <a:pPr lvl="1"/>
            <a:endParaRPr lang="en-US" sz="20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723768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9C7DA6-C627-4D2A-9597-C832C23013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dical Insurance continu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C5E6A6-00B6-4208-9226-786A6A082C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000" dirty="0"/>
              <a:t>If you continue your District Health Insurance, be sure to forward the FRS Health Insurance Subsidy Certification Form you receive from FRS to Insurance &amp; Benefits for confirmation of coverage.</a:t>
            </a:r>
          </a:p>
          <a:p>
            <a:r>
              <a:rPr lang="en-US" sz="2000" dirty="0"/>
              <a:t>The health insurance subsidy of $5 per month for each year of FRS services (maximum 30 years) will be included in your monthly retirement check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49557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04DFD7-CA2A-46E9-9E57-E63EF6227F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dirty="0"/>
              <a:t>Medical Insurance Monthly Premiums</a:t>
            </a:r>
            <a:br>
              <a:rPr lang="en-US" dirty="0"/>
            </a:br>
            <a:r>
              <a:rPr lang="en-US" sz="3200" dirty="0"/>
              <a:t>Effective 4/1/2023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47396E8-1403-4DB3-A128-7A37E33318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8796441"/>
              </p:ext>
            </p:extLst>
          </p:nvPr>
        </p:nvGraphicFramePr>
        <p:xfrm>
          <a:off x="838200" y="2268415"/>
          <a:ext cx="10811608" cy="35257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7173">
                  <a:extLst>
                    <a:ext uri="{9D8B030D-6E8A-4147-A177-3AD203B41FA5}">
                      <a16:colId xmlns:a16="http://schemas.microsoft.com/office/drawing/2014/main" val="1399689012"/>
                    </a:ext>
                  </a:extLst>
                </a:gridCol>
                <a:gridCol w="2843049">
                  <a:extLst>
                    <a:ext uri="{9D8B030D-6E8A-4147-A177-3AD203B41FA5}">
                      <a16:colId xmlns:a16="http://schemas.microsoft.com/office/drawing/2014/main" val="3846877425"/>
                    </a:ext>
                  </a:extLst>
                </a:gridCol>
                <a:gridCol w="2986703">
                  <a:extLst>
                    <a:ext uri="{9D8B030D-6E8A-4147-A177-3AD203B41FA5}">
                      <a16:colId xmlns:a16="http://schemas.microsoft.com/office/drawing/2014/main" val="1518356371"/>
                    </a:ext>
                  </a:extLst>
                </a:gridCol>
                <a:gridCol w="2444683">
                  <a:extLst>
                    <a:ext uri="{9D8B030D-6E8A-4147-A177-3AD203B41FA5}">
                      <a16:colId xmlns:a16="http://schemas.microsoft.com/office/drawing/2014/main" val="628096660"/>
                    </a:ext>
                  </a:extLst>
                </a:gridCol>
              </a:tblGrid>
              <a:tr h="587619">
                <a:tc>
                  <a:txBody>
                    <a:bodyPr/>
                    <a:lstStyle/>
                    <a:p>
                      <a:pPr algn="l" fontAlgn="b"/>
                      <a:endParaRPr lang="en-US" sz="2000" b="1" i="0" u="none" strike="noStrike" dirty="0"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lan 95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lan 74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High Deductible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86625901"/>
                  </a:ext>
                </a:extLst>
              </a:tr>
              <a:tr h="587619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tiree Only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$    793.8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$        767.8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$          612.8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49890422"/>
                  </a:ext>
                </a:extLst>
              </a:tr>
              <a:tr h="587619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tiree/Spous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$    1,685.00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$        1,620.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$        1,377.6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88646686"/>
                  </a:ext>
                </a:extLst>
              </a:tr>
              <a:tr h="587619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tiree/Chil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$    1,184.9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$        1,149.00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$        987.4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47684264"/>
                  </a:ext>
                </a:extLst>
              </a:tr>
              <a:tr h="587619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tiree/Children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$    1,184.9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$        1,149.00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$        987.40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6437300"/>
                  </a:ext>
                </a:extLst>
              </a:tr>
              <a:tr h="587619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tiree/Family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$    2,080.60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$        1,998.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$        1,717.1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6283694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0365388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E1A452-BF37-41E3-9F13-73050893CE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3D17BF-089B-42A8-9203-4E8CBEA0C96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strict Website: </a:t>
            </a:r>
            <a:r>
              <a:rPr lang="en-US" dirty="0">
                <a:hlinkClick r:id="rId2"/>
              </a:rPr>
              <a:t>www.leeschools.net</a:t>
            </a:r>
            <a:r>
              <a:rPr lang="en-US" dirty="0"/>
              <a:t>  </a:t>
            </a:r>
          </a:p>
          <a:p>
            <a:pPr lvl="1"/>
            <a:r>
              <a:rPr lang="en-US" dirty="0"/>
              <a:t>Click on: Employee Portal &gt; login using your District username and password &gt; Employee Benefits &gt; Retirement and Exiting Employment</a:t>
            </a:r>
          </a:p>
          <a:p>
            <a:endParaRPr lang="en-US" dirty="0"/>
          </a:p>
          <a:p>
            <a:r>
              <a:rPr lang="en-US" dirty="0"/>
              <a:t>I&amp;B Email: </a:t>
            </a:r>
            <a:r>
              <a:rPr lang="en-US" dirty="0">
                <a:hlinkClick r:id="rId3"/>
              </a:rPr>
              <a:t>Benefits@LeeSchools.net</a:t>
            </a:r>
            <a:r>
              <a:rPr lang="en-US" dirty="0"/>
              <a:t> </a:t>
            </a:r>
          </a:p>
          <a:p>
            <a:endParaRPr lang="en-US" dirty="0"/>
          </a:p>
          <a:p>
            <a:r>
              <a:rPr lang="en-US" dirty="0"/>
              <a:t>I&amp;B Office: 239-337-8321 (Business Hours: 8am – 4:30pm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05231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8F5AD2-BAC6-46A0-A8A0-3F48108869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7C6CEA-62CE-402D-98ED-9024367252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696694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09C33D-0A74-4858-822A-74529F886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iteria / Eligibility – Retiree Benefi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0BA093-5F08-4CCC-B277-3A55530CC71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lorida Retirement System (FRS) Pension Plan</a:t>
            </a:r>
          </a:p>
          <a:p>
            <a:pPr lvl="1"/>
            <a:r>
              <a:rPr lang="en-US" sz="1600" dirty="0"/>
              <a:t>Receive monthly FRS Pension check</a:t>
            </a:r>
          </a:p>
          <a:p>
            <a:pPr marL="571500" lvl="1" indent="0">
              <a:buNone/>
            </a:pPr>
            <a:endParaRPr lang="en-US" sz="1200" dirty="0"/>
          </a:p>
          <a:p>
            <a:r>
              <a:rPr lang="en-US" dirty="0"/>
              <a:t>FRS Investment Plan </a:t>
            </a:r>
            <a:r>
              <a:rPr lang="en-US" sz="2000" b="1" dirty="0"/>
              <a:t>(must meet ALL of following criteria)</a:t>
            </a:r>
          </a:p>
          <a:p>
            <a:pPr lvl="1"/>
            <a:r>
              <a:rPr lang="en-US" sz="1600" dirty="0"/>
              <a:t>6 years of creditable service </a:t>
            </a:r>
            <a:r>
              <a:rPr lang="en-US" sz="1600" b="1" dirty="0"/>
              <a:t>or</a:t>
            </a:r>
            <a:r>
              <a:rPr lang="en-US" sz="1600" dirty="0"/>
              <a:t> 8 years if initially enrolled July 1, 2011 or after</a:t>
            </a:r>
          </a:p>
          <a:p>
            <a:pPr lvl="1"/>
            <a:r>
              <a:rPr lang="en-US" sz="1600" dirty="0"/>
              <a:t>At least the age of 59 ½ at time of termination of employment</a:t>
            </a:r>
          </a:p>
          <a:p>
            <a:pPr lvl="1"/>
            <a:r>
              <a:rPr lang="en-US" sz="1600" dirty="0"/>
              <a:t>Must take a distribution (rollover or lump sum) from Investment Account.</a:t>
            </a:r>
          </a:p>
          <a:p>
            <a:pPr lvl="2"/>
            <a:r>
              <a:rPr lang="en-US" sz="1200" dirty="0"/>
              <a:t>While waiting to be eligible to take a distribution, you must continue benefits with COBRA.  Once distribution is complete, contact Insurance &amp; Benefits to be changed from COBRA status to Retiree Status.  There must be NO LAPSE in coverage.  </a:t>
            </a:r>
          </a:p>
          <a:p>
            <a:pPr lvl="1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0116826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814A30-3A32-4EAA-933D-648EBDF473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817685"/>
            <a:ext cx="10515600" cy="3741436"/>
          </a:xfrm>
        </p:spPr>
        <p:txBody>
          <a:bodyPr/>
          <a:lstStyle/>
          <a:p>
            <a:r>
              <a:rPr lang="en-US" dirty="0"/>
              <a:t>Retiree Life Insuran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A4803A-42BF-42E1-832C-8EC133C6E9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913289"/>
            <a:ext cx="10515600" cy="112702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06621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C4F638-5AD5-4AC8-B459-61957579E2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fe Insuran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AECC00-5AC2-41C1-A82C-2BBBD0E24E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654934"/>
            <a:ext cx="10515600" cy="4701903"/>
          </a:xfrm>
        </p:spPr>
        <p:txBody>
          <a:bodyPr/>
          <a:lstStyle/>
          <a:p>
            <a:r>
              <a:rPr lang="en-US" dirty="0"/>
              <a:t>The maximum amount you may continue is $100,000. At age 70, your life benefit will reduce to 50% of the original face amount and at age 75 it will reduce to 25% of the original face amount. </a:t>
            </a:r>
          </a:p>
          <a:p>
            <a:r>
              <a:rPr lang="en-US" dirty="0"/>
              <a:t>Dependent life insurance is not available under the retiree plan.</a:t>
            </a:r>
          </a:p>
          <a:p>
            <a:r>
              <a:rPr lang="en-US" dirty="0"/>
              <a:t>Will receive a packet from Insurance &amp; Benefits with forms to complete to send to Minnesota Life / Securian directly.</a:t>
            </a:r>
          </a:p>
          <a:p>
            <a:r>
              <a:rPr lang="en-US" dirty="0"/>
              <a:t>Minnesota Life / Securian will invoice you directly.</a:t>
            </a:r>
          </a:p>
          <a:p>
            <a:pPr marL="11430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22174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1EA69-07A8-4021-A22D-8452172479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204546"/>
            <a:ext cx="10515600" cy="3154953"/>
          </a:xfrm>
        </p:spPr>
        <p:txBody>
          <a:bodyPr/>
          <a:lstStyle/>
          <a:p>
            <a:r>
              <a:rPr lang="en-US" dirty="0"/>
              <a:t>Retiree Dental Insuran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E12A83-F99F-439B-B2B3-652675AAC5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5106473"/>
            <a:ext cx="10515600" cy="766292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60774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6E7A94-64DF-433E-B7A4-8DC7EE8C8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ntal Insuranc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ED0AFE-5C7B-402A-A93A-ADBC186A0F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642188"/>
            <a:ext cx="10515600" cy="4568825"/>
          </a:xfrm>
        </p:spPr>
        <p:txBody>
          <a:bodyPr/>
          <a:lstStyle/>
          <a:p>
            <a:r>
              <a:rPr lang="en-US" sz="2000" dirty="0"/>
              <a:t>May continue your dental insurance for both you and any covered eligible dependents.</a:t>
            </a:r>
          </a:p>
          <a:p>
            <a:r>
              <a:rPr lang="en-US" sz="2000" dirty="0"/>
              <a:t>If you elect not to enroll in dental as a Retiree </a:t>
            </a:r>
            <a:r>
              <a:rPr lang="en-US" sz="2000" b="1" u="sng" dirty="0"/>
              <a:t>OR</a:t>
            </a:r>
            <a:r>
              <a:rPr lang="en-US" sz="2000" dirty="0"/>
              <a:t> if you do elect dental and cancel at some point in the future, (</a:t>
            </a:r>
            <a:r>
              <a:rPr lang="en-US" sz="2000" dirty="0" err="1"/>
              <a:t>ie</a:t>
            </a:r>
            <a:r>
              <a:rPr lang="en-US" sz="2000" dirty="0"/>
              <a:t>. Open Enrollment), you </a:t>
            </a:r>
            <a:r>
              <a:rPr lang="en-US" sz="2000" b="1" dirty="0"/>
              <a:t>will not </a:t>
            </a:r>
            <a:r>
              <a:rPr lang="en-US" sz="2000" dirty="0"/>
              <a:t>be able to re-enroll at a later date. </a:t>
            </a:r>
          </a:p>
          <a:p>
            <a:r>
              <a:rPr lang="en-US" sz="2000" dirty="0"/>
              <a:t>Will receive a packet from Insurance &amp; Benefits with necessary forms to complete if wish to continue coverage upon Retirement</a:t>
            </a:r>
          </a:p>
          <a:p>
            <a:pPr lvl="1"/>
            <a:r>
              <a:rPr lang="en-US" sz="1600" dirty="0"/>
              <a:t>Retiree Enrollment Form</a:t>
            </a:r>
          </a:p>
          <a:p>
            <a:pPr lvl="1"/>
            <a:r>
              <a:rPr lang="en-US" sz="1600" dirty="0"/>
              <a:t>Florida Retirement System Insurance Payroll Authorization Form (</a:t>
            </a:r>
            <a:r>
              <a:rPr lang="en-US" sz="1600" i="1" dirty="0"/>
              <a:t>authorizes FRS to deduct dental insurance premiums directly from your retirement check</a:t>
            </a:r>
            <a:r>
              <a:rPr lang="en-US" sz="1600" dirty="0"/>
              <a:t>).</a:t>
            </a:r>
          </a:p>
          <a:p>
            <a:pPr lvl="2"/>
            <a:r>
              <a:rPr lang="en-US" sz="1200" dirty="0"/>
              <a:t> If your FRS benefit is not sufficient to cover your dental insurance premiums or you are retiring through the Investment Plan, the Insurance &amp; Benefits Management Department will set you up in our onsite billing system and invoice you on a monthly basis.</a:t>
            </a:r>
          </a:p>
          <a:p>
            <a:r>
              <a:rPr lang="en-US" sz="2000" dirty="0"/>
              <a:t>All forms must be returned to Insurance &amp; Benefits Management </a:t>
            </a:r>
            <a:r>
              <a:rPr lang="en-US" sz="2000" b="1" u="sng" dirty="0"/>
              <a:t>by the end of your  benefit termination date.</a:t>
            </a:r>
          </a:p>
        </p:txBody>
      </p:sp>
    </p:spTree>
    <p:extLst>
      <p:ext uri="{BB962C8B-B14F-4D97-AF65-F5344CB8AC3E}">
        <p14:creationId xmlns:p14="http://schemas.microsoft.com/office/powerpoint/2010/main" val="5058528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9B6387-9A97-4B44-8BF2-5E04E09F16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dirty="0"/>
              <a:t>Dental Insurance Monthly Premiums</a:t>
            </a:r>
            <a:br>
              <a:rPr lang="en-US" dirty="0"/>
            </a:br>
            <a:r>
              <a:rPr lang="en-US" sz="3200" dirty="0"/>
              <a:t>Effective 4-1-2023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505181-E4D2-49C7-A325-A35CDE0F70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804745"/>
            <a:ext cx="10515600" cy="3406267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F2F08603-8FC8-48E0-AABC-0987ADEF72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9681850"/>
              </p:ext>
            </p:extLst>
          </p:nvPr>
        </p:nvGraphicFramePr>
        <p:xfrm>
          <a:off x="838200" y="2206870"/>
          <a:ext cx="10515600" cy="3516926"/>
        </p:xfrm>
        <a:graphic>
          <a:graphicData uri="http://schemas.openxmlformats.org/drawingml/2006/table">
            <a:tbl>
              <a:tblPr/>
              <a:tblGrid>
                <a:gridCol w="2628900">
                  <a:extLst>
                    <a:ext uri="{9D8B030D-6E8A-4147-A177-3AD203B41FA5}">
                      <a16:colId xmlns:a16="http://schemas.microsoft.com/office/drawing/2014/main" val="2755081231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2329378006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923377355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1783024684"/>
                    </a:ext>
                  </a:extLst>
                </a:gridCol>
              </a:tblGrid>
              <a:tr h="705533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rgbClr val="FFFFFF"/>
                          </a:solidFill>
                          <a:effectLst/>
                        </a:rPr>
                        <a:t>Tiers</a:t>
                      </a:r>
                      <a:endParaRPr lang="en-US" sz="120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80119" marR="80119" marT="40059" marB="4005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4367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rgbClr val="FFFFFF"/>
                          </a:solidFill>
                          <a:effectLst/>
                        </a:rPr>
                        <a:t>High PPO (D2000)</a:t>
                      </a:r>
                      <a:endParaRPr lang="en-US" sz="120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80119" marR="80119" marT="40059" marB="4005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4367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rgbClr val="FFFFFF"/>
                          </a:solidFill>
                          <a:effectLst/>
                        </a:rPr>
                        <a:t>Mid PPO (D1500)</a:t>
                      </a:r>
                      <a:endParaRPr lang="en-US" sz="120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80119" marR="80119" marT="40059" marB="4005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4367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</a:rPr>
                        <a:t>Low PPO (D1000)</a:t>
                      </a:r>
                      <a:endParaRPr lang="en-US" sz="120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80119" marR="80119" marT="40059" marB="4005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436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322794"/>
                  </a:ext>
                </a:extLst>
              </a:tr>
              <a:tr h="705533">
                <a:tc>
                  <a:txBody>
                    <a:bodyPr/>
                    <a:lstStyle/>
                    <a:p>
                      <a:r>
                        <a:rPr lang="en-US" sz="1200"/>
                        <a:t>Employee Only</a:t>
                      </a:r>
                    </a:p>
                  </a:txBody>
                  <a:tcPr marL="80119" marR="80119" marT="40059" marB="4005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$48.50</a:t>
                      </a:r>
                    </a:p>
                  </a:txBody>
                  <a:tcPr marL="80119" marR="80119" marT="40059" marB="4005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$72.00</a:t>
                      </a:r>
                    </a:p>
                  </a:txBody>
                  <a:tcPr marL="80119" marR="80119" marT="40059" marB="4005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AF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$28.30</a:t>
                      </a:r>
                    </a:p>
                  </a:txBody>
                  <a:tcPr marL="80119" marR="80119" marT="40059" marB="4005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AF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3172411"/>
                  </a:ext>
                </a:extLst>
              </a:tr>
              <a:tr h="705533">
                <a:tc>
                  <a:txBody>
                    <a:bodyPr/>
                    <a:lstStyle/>
                    <a:p>
                      <a:r>
                        <a:rPr lang="en-US" sz="1200"/>
                        <a:t>Employee / Spouse</a:t>
                      </a:r>
                    </a:p>
                  </a:txBody>
                  <a:tcPr marL="80119" marR="80119" marT="40059" marB="4005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$98.90</a:t>
                      </a:r>
                    </a:p>
                  </a:txBody>
                  <a:tcPr marL="80119" marR="80119" marT="40059" marB="4005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$75.20</a:t>
                      </a:r>
                    </a:p>
                  </a:txBody>
                  <a:tcPr marL="80119" marR="80119" marT="40059" marB="4005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$57.70</a:t>
                      </a:r>
                    </a:p>
                  </a:txBody>
                  <a:tcPr marL="80119" marR="80119" marT="40059" marB="4005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011355"/>
                  </a:ext>
                </a:extLst>
              </a:tr>
              <a:tr h="705533">
                <a:tc>
                  <a:txBody>
                    <a:bodyPr/>
                    <a:lstStyle/>
                    <a:p>
                      <a:r>
                        <a:rPr lang="en-US" sz="1200"/>
                        <a:t>Employee / Children</a:t>
                      </a:r>
                    </a:p>
                  </a:txBody>
                  <a:tcPr marL="80119" marR="80119" marT="40059" marB="4005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0E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$99.20</a:t>
                      </a:r>
                    </a:p>
                  </a:txBody>
                  <a:tcPr marL="80119" marR="80119" marT="40059" marB="4005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0E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$75.50</a:t>
                      </a:r>
                    </a:p>
                  </a:txBody>
                  <a:tcPr marL="80119" marR="80119" marT="40059" marB="4005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0E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$58.00</a:t>
                      </a:r>
                    </a:p>
                  </a:txBody>
                  <a:tcPr marL="80119" marR="80119" marT="40059" marB="4005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0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3486833"/>
                  </a:ext>
                </a:extLst>
              </a:tr>
              <a:tr h="694794">
                <a:tc>
                  <a:txBody>
                    <a:bodyPr/>
                    <a:lstStyle/>
                    <a:p>
                      <a:r>
                        <a:rPr lang="en-US" sz="1200"/>
                        <a:t>Employee / Family</a:t>
                      </a:r>
                    </a:p>
                  </a:txBody>
                  <a:tcPr marL="80119" marR="80119" marT="40059" marB="4005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$157.00</a:t>
                      </a:r>
                    </a:p>
                  </a:txBody>
                  <a:tcPr marL="80119" marR="80119" marT="40059" marB="4005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$120.00</a:t>
                      </a:r>
                    </a:p>
                  </a:txBody>
                  <a:tcPr marL="80119" marR="80119" marT="40059" marB="4005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$92.30</a:t>
                      </a:r>
                    </a:p>
                  </a:txBody>
                  <a:tcPr marL="80119" marR="80119" marT="40059" marB="4005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20741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60262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D9B266-0EE6-43A8-8EB4-79C7B6539C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640169"/>
            <a:ext cx="10515600" cy="2086377"/>
          </a:xfrm>
        </p:spPr>
        <p:txBody>
          <a:bodyPr/>
          <a:lstStyle/>
          <a:p>
            <a:r>
              <a:rPr lang="en-US" dirty="0"/>
              <a:t>Retiree Vision Insuran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13B281-1B34-461A-A13F-B55EFAEA6A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2719" y="5331854"/>
            <a:ext cx="10515600" cy="770008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2137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6E7A94-64DF-433E-B7A4-8DC7EE8C8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sion Insuranc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ED0AFE-5C7B-402A-A93A-ADBC186A0F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592424"/>
            <a:ext cx="10515600" cy="4618589"/>
          </a:xfrm>
        </p:spPr>
        <p:txBody>
          <a:bodyPr/>
          <a:lstStyle/>
          <a:p>
            <a:r>
              <a:rPr lang="en-US" sz="2000" dirty="0"/>
              <a:t>May continue your vision insurance for both you and any covered eligible dependents.</a:t>
            </a:r>
          </a:p>
          <a:p>
            <a:r>
              <a:rPr lang="en-US" sz="2000" dirty="0"/>
              <a:t>If you elect not to enroll in vision as a Retiree </a:t>
            </a:r>
            <a:r>
              <a:rPr lang="en-US" sz="2000" b="1" u="sng" dirty="0"/>
              <a:t>OR</a:t>
            </a:r>
            <a:r>
              <a:rPr lang="en-US" sz="2000" dirty="0"/>
              <a:t> if you do elect vision and cancel at some point in the future, (</a:t>
            </a:r>
            <a:r>
              <a:rPr lang="en-US" sz="2000" dirty="0" err="1"/>
              <a:t>ie</a:t>
            </a:r>
            <a:r>
              <a:rPr lang="en-US" sz="2000" dirty="0"/>
              <a:t>. Open Enrollment), you </a:t>
            </a:r>
            <a:r>
              <a:rPr lang="en-US" sz="2000" b="1" dirty="0"/>
              <a:t>will not </a:t>
            </a:r>
            <a:r>
              <a:rPr lang="en-US" sz="2000" dirty="0"/>
              <a:t>be able to re-enroll at a later date. </a:t>
            </a:r>
          </a:p>
          <a:p>
            <a:r>
              <a:rPr lang="en-US" sz="2000" dirty="0"/>
              <a:t>Will receive a packet from Insurance &amp; Benefits with necessary forms to complete if wish to continue coverage upon retirement</a:t>
            </a:r>
          </a:p>
          <a:p>
            <a:pPr lvl="1"/>
            <a:r>
              <a:rPr lang="en-US" sz="1600" dirty="0"/>
              <a:t>Retiree Enrollment Form</a:t>
            </a:r>
          </a:p>
          <a:p>
            <a:pPr lvl="1"/>
            <a:r>
              <a:rPr lang="en-US" sz="1600" dirty="0"/>
              <a:t>Florida Retirement System Insurance Payroll Authorization Form (</a:t>
            </a:r>
            <a:r>
              <a:rPr lang="en-US" sz="1600" i="1" dirty="0"/>
              <a:t>authorizes FRS to deduct vision insurance premiums directly from your retirement check</a:t>
            </a:r>
            <a:r>
              <a:rPr lang="en-US" sz="1600" dirty="0"/>
              <a:t>).</a:t>
            </a:r>
          </a:p>
          <a:p>
            <a:pPr lvl="2"/>
            <a:r>
              <a:rPr lang="en-US" sz="1200" dirty="0"/>
              <a:t> If your FRS benefit is not sufficient to cover your vision insurance premiums or you are retiring through the Investment Plan, the Insurance &amp; Benefits Management Department will set you up in our onsite billing system and invoice you on a monthly basis.</a:t>
            </a:r>
          </a:p>
          <a:p>
            <a:r>
              <a:rPr lang="en-US" sz="2000" dirty="0"/>
              <a:t>All forms must be returned to Insurance &amp; Benefits Management </a:t>
            </a:r>
            <a:r>
              <a:rPr lang="en-US" sz="2000" b="1" u="sng" dirty="0"/>
              <a:t>by the end of your  benefit termination date.</a:t>
            </a:r>
          </a:p>
        </p:txBody>
      </p:sp>
    </p:spTree>
    <p:extLst>
      <p:ext uri="{BB962C8B-B14F-4D97-AF65-F5344CB8AC3E}">
        <p14:creationId xmlns:p14="http://schemas.microsoft.com/office/powerpoint/2010/main" val="25077278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strict PowerPoint Presentation">
  <a:themeElements>
    <a:clrScheme name="District Colors">
      <a:dk1>
        <a:srgbClr val="2C2C2C"/>
      </a:dk1>
      <a:lt1>
        <a:srgbClr val="FFFFFF"/>
      </a:lt1>
      <a:dk2>
        <a:srgbClr val="595959"/>
      </a:dk2>
      <a:lt2>
        <a:srgbClr val="F2F2F2"/>
      </a:lt2>
      <a:accent1>
        <a:srgbClr val="F68721"/>
      </a:accent1>
      <a:accent2>
        <a:srgbClr val="FEBF4B"/>
      </a:accent2>
      <a:accent3>
        <a:srgbClr val="ADD1EF"/>
      </a:accent3>
      <a:accent4>
        <a:srgbClr val="5BBA47"/>
      </a:accent4>
      <a:accent5>
        <a:srgbClr val="043673"/>
      </a:accent5>
      <a:accent6>
        <a:srgbClr val="0777BE"/>
      </a:accent6>
      <a:hlink>
        <a:srgbClr val="F68721"/>
      </a:hlink>
      <a:folHlink>
        <a:srgbClr val="C55A11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Bubbles and Box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Closing Slid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Default Theme">
  <a:themeElements>
    <a:clrScheme name="Custom 6">
      <a:dk1>
        <a:srgbClr val="000000"/>
      </a:dk1>
      <a:lt1>
        <a:srgbClr val="FFFFFF"/>
      </a:lt1>
      <a:dk2>
        <a:srgbClr val="DB0A5B"/>
      </a:dk2>
      <a:lt2>
        <a:srgbClr val="6025A9"/>
      </a:lt2>
      <a:accent1>
        <a:srgbClr val="A3CE4E"/>
      </a:accent1>
      <a:accent2>
        <a:srgbClr val="0090DA"/>
      </a:accent2>
      <a:accent3>
        <a:srgbClr val="0061A0"/>
      </a:accent3>
      <a:accent4>
        <a:srgbClr val="FFC600"/>
      </a:accent4>
      <a:accent5>
        <a:srgbClr val="00A3AD"/>
      </a:accent5>
      <a:accent6>
        <a:srgbClr val="75787B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0" rIns="91440" bIns="0" rtlCol="0">
        <a:noAutofit/>
      </a:bodyPr>
      <a:lstStyle>
        <a:defPPr>
          <a:defRPr sz="2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MetLife_format_5-17-17">
  <a:themeElements>
    <a:clrScheme name="Custom 6">
      <a:dk1>
        <a:srgbClr val="000000"/>
      </a:dk1>
      <a:lt1>
        <a:srgbClr val="FFFFFF"/>
      </a:lt1>
      <a:dk2>
        <a:srgbClr val="DB0A5B"/>
      </a:dk2>
      <a:lt2>
        <a:srgbClr val="6025A9"/>
      </a:lt2>
      <a:accent1>
        <a:srgbClr val="A3CE4E"/>
      </a:accent1>
      <a:accent2>
        <a:srgbClr val="0090DA"/>
      </a:accent2>
      <a:accent3>
        <a:srgbClr val="0061A0"/>
      </a:accent3>
      <a:accent4>
        <a:srgbClr val="FFC600"/>
      </a:accent4>
      <a:accent5>
        <a:srgbClr val="00A3AD"/>
      </a:accent5>
      <a:accent6>
        <a:srgbClr val="75787B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0" rIns="91440" bIns="0" rtlCol="0">
        <a:noAutofit/>
      </a:bodyPr>
      <a:lstStyle>
        <a:defPPr>
          <a:defRPr sz="2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01</TotalTime>
  <Words>1052</Words>
  <Application>Microsoft Office PowerPoint</Application>
  <PresentationFormat>Widescreen</PresentationFormat>
  <Paragraphs>122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2" baseType="lpstr">
      <vt:lpstr>.AppleSystemUIFont</vt:lpstr>
      <vt:lpstr>Open Sans SemiBold</vt:lpstr>
      <vt:lpstr>Arial</vt:lpstr>
      <vt:lpstr>Calibri</vt:lpstr>
      <vt:lpstr>Segoe UI</vt:lpstr>
      <vt:lpstr>Open Sans</vt:lpstr>
      <vt:lpstr>Georgia</vt:lpstr>
      <vt:lpstr>District PowerPoint Presentation</vt:lpstr>
      <vt:lpstr>Custom Design</vt:lpstr>
      <vt:lpstr>Bubbles and Boxes</vt:lpstr>
      <vt:lpstr>Closing Slides</vt:lpstr>
      <vt:lpstr>1_Default Theme</vt:lpstr>
      <vt:lpstr>MetLife_format_5-17-17</vt:lpstr>
      <vt:lpstr>think-cell Slide</vt:lpstr>
      <vt:lpstr>RETIREMENT SEMINAR</vt:lpstr>
      <vt:lpstr>Criteria / Eligibility – Retiree Benefits</vt:lpstr>
      <vt:lpstr>Retiree Life Insurance</vt:lpstr>
      <vt:lpstr>Life Insurance</vt:lpstr>
      <vt:lpstr>Retiree Dental Insurance</vt:lpstr>
      <vt:lpstr>Dental Insurance</vt:lpstr>
      <vt:lpstr>Dental Insurance Monthly Premiums Effective 4-1-2023</vt:lpstr>
      <vt:lpstr>Retiree Vision Insurance</vt:lpstr>
      <vt:lpstr>Vision Insurance</vt:lpstr>
      <vt:lpstr>Vision Insurance Monthly Premiums Effective 4/1/2023</vt:lpstr>
      <vt:lpstr>Cancer, Critical Illness, &amp; Accident Insurances</vt:lpstr>
      <vt:lpstr>Cancer, Critical Illness, Accident</vt:lpstr>
      <vt:lpstr>Medical Insurance</vt:lpstr>
      <vt:lpstr>Medical Insurance</vt:lpstr>
      <vt:lpstr>Medical Insurance continued</vt:lpstr>
      <vt:lpstr>Medical Insurance Monthly Premiums Effective 4/1/2023</vt:lpstr>
      <vt:lpstr>Resources</vt:lpstr>
      <vt:lpstr>Questions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nefits Open Enrollment</dc:title>
  <dc:creator>McFarland, Bonnie</dc:creator>
  <cp:lastModifiedBy>Cooley, Karen</cp:lastModifiedBy>
  <cp:revision>68</cp:revision>
  <dcterms:modified xsi:type="dcterms:W3CDTF">2023-02-06T13:50:04Z</dcterms:modified>
</cp:coreProperties>
</file>